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026" r:id="rId2"/>
    <p:sldId id="3027" r:id="rId3"/>
    <p:sldId id="3028" r:id="rId4"/>
    <p:sldId id="3029" r:id="rId5"/>
    <p:sldId id="3030" r:id="rId6"/>
    <p:sldId id="3031" r:id="rId7"/>
    <p:sldId id="3032" r:id="rId8"/>
    <p:sldId id="3033" r:id="rId9"/>
    <p:sldId id="3034" r:id="rId10"/>
    <p:sldId id="3035" r:id="rId11"/>
    <p:sldId id="3036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341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48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FD93F-4774-4EC6-A9AB-24F18BB4290C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F8AE3C-7E16-44EE-B939-7025D27D8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026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AD7B0-E53D-F9BA-9C7E-836FDA749C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90486C-B1F0-5F95-EC7A-22E957FD91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D6D64E-844C-5E0A-A916-E32295FB2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6570B-D018-B4E8-2F5C-50DF5FC54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23A15B-3045-0364-82C4-3CEA833E3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936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E8A8B-8800-7284-6984-9D577A32D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15772C-68D2-5113-AE27-78AB3A418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6D8962-A7B4-627A-CA1B-128B4353D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53642-404E-CE31-E71B-9DE6AA56F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7EA06-256D-B673-9C1D-4F8E7F2D0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410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A54E37-8A05-C8F7-F9AE-D2F4A44782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A6FCD6-EF28-4E52-6483-0D98B13D14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88A441-90E0-648B-D1AD-2ED8248073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4FE2B-8723-41A9-85E1-78939BE76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43BDE-6A5D-6FA1-EB63-2FF314736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2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994E85-2630-67C5-C0E7-14047A4FE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28057D-0066-1C80-9DD7-21C668DB61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CFD0A4-5D23-CCC9-A70C-74B2E78F8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6344A7-0455-E6C3-1DCF-6EA9EDF43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7493A2-9498-BB1A-D1F6-A7A540A3F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92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D569D-3DF3-8025-762C-4FAD27B4B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838ED7-C4C9-CC39-E9CF-19FD416E3E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074896-C105-3672-93D8-D725F45C49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AD306-A645-5C0B-4E77-86EB0AD24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DD2C1-02B8-CF46-A464-1EF6F59EF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78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EF804-8B5B-E167-A471-7D7C5864E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C80D2E-AF66-2C5D-D612-48C03679C8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9E2F38-21CD-C02E-6F1C-D03C6BF514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10C1C8-666D-256C-E2AD-47B2B03E6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A5FE7F-2B0C-EF3D-3961-277AF0E70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5A1165-5535-ACE3-C680-48DB9A1D9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057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C910EB-AEE4-AC26-90C9-58E06784D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FE6B21-0FCB-E8F2-EEA8-62D265E703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416328-1A97-340E-F32E-00341B88DD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2C2E6C-4B4C-A2D1-4F6D-9B49EA9607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4B555D-68A5-E7C3-2337-4B62980A57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AF683-C1FE-99D6-9B3B-377BB10FD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A87425-F918-0D47-6DA2-3A0044650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FD9B6D-A0E2-8458-FB1B-8C2394019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102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1B2E5-67D2-74C3-7300-A20D7CD1E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33AEA8-E473-BBC6-5788-82EE59626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9CBB53-4E7E-5E23-7123-A28D5AB75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AD393D-811B-2125-F8A7-DF15A2380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55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D829F5-578B-D6CF-4E84-A6086DCC1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87A9A2-689C-16AD-8F96-22488286C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E744AC-F1FA-FC5A-A9DB-A0B0FEC79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68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0B096C-2E07-AC96-4166-0A729F047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3B5B17-3B19-80B4-A382-16478836F2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07B424-A63E-CD54-F85B-91189EC6C1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339292-A1E8-3035-9D67-F46C4E478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6EAFA6-1497-2BD2-7367-CEC7039A3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DD5F01-FA49-AA43-68CE-89D5775E4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749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1E994-046A-AE8C-0798-B6D3D09CD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CF3D0C-BEE6-E2A0-1E94-5869C00E5F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D53A82-EF91-D014-9822-4DE160CB45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D626B9-EA4C-6586-2A8A-49FC64AE5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11DF7-F205-4D4A-9F64-7FEADAD7CB17}" type="datetimeFigureOut">
              <a:rPr lang="en-US" smtClean="0"/>
              <a:t>1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FFA285-4A5C-D2BE-A9DE-AC513A008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2AE24C-DB7D-3D89-AB4D-3BC5EC641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0A7BB-C754-43FE-9BA2-BA5AA7D47A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514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9E720A-ECD1-4AC4-806A-87927A524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3E40E1-D2B5-4647-4AA3-33C0052CE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E6901B-17C3-E3CE-AE83-D215C5EC58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2060"/>
                </a:solidFill>
              </a:defRPr>
            </a:lvl1pPr>
          </a:lstStyle>
          <a:p>
            <a:fld id="{C3F11DF7-F205-4D4A-9F64-7FEADAD7CB17}" type="datetimeFigureOut">
              <a:rPr lang="en-US" smtClean="0"/>
              <a:pPr/>
              <a:t>1/1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17A1D-81CC-339B-0F2A-36C207A53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D28F74-939D-615B-19DA-2E06C33F33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2060"/>
                </a:solidFill>
              </a:defRPr>
            </a:lvl1pPr>
          </a:lstStyle>
          <a:p>
            <a:fld id="{A690A7BB-C754-43FE-9BA2-BA5AA7D47A8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1BF465B-1D7D-AB36-064D-AD675E9ED561}"/>
              </a:ext>
            </a:extLst>
          </p:cNvPr>
          <p:cNvCxnSpPr/>
          <p:nvPr userDrawn="1"/>
        </p:nvCxnSpPr>
        <p:spPr>
          <a:xfrm>
            <a:off x="838200" y="6339258"/>
            <a:ext cx="10515600" cy="0"/>
          </a:xfrm>
          <a:prstGeom prst="line">
            <a:avLst/>
          </a:prstGeom>
          <a:ln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06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206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206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57F1F-024E-8ABE-1283-D1BAA5509D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 to Transform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26BE-E151-7AD9-59FE-4EAF5E3EAD0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Quang Duong</a:t>
            </a:r>
          </a:p>
        </p:txBody>
      </p:sp>
    </p:spTree>
    <p:extLst>
      <p:ext uri="{BB962C8B-B14F-4D97-AF65-F5344CB8AC3E}">
        <p14:creationId xmlns:p14="http://schemas.microsoft.com/office/powerpoint/2010/main" val="38303058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C64F7D0-3340-AE01-83D7-105166068E8D}"/>
              </a:ext>
            </a:extLst>
          </p:cNvPr>
          <p:cNvSpPr/>
          <p:nvPr/>
        </p:nvSpPr>
        <p:spPr>
          <a:xfrm>
            <a:off x="2217223" y="230450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175C10-530B-78BE-9479-8CCFA6931705}"/>
              </a:ext>
            </a:extLst>
          </p:cNvPr>
          <p:cNvSpPr/>
          <p:nvPr/>
        </p:nvSpPr>
        <p:spPr>
          <a:xfrm>
            <a:off x="3747259" y="220326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60BC80-AD5A-369B-EDAD-D98E344F1B5A}"/>
              </a:ext>
            </a:extLst>
          </p:cNvPr>
          <p:cNvSpPr/>
          <p:nvPr/>
        </p:nvSpPr>
        <p:spPr>
          <a:xfrm>
            <a:off x="5340669" y="230450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0F592D-92AC-FFD3-2FAD-48752F862E81}"/>
              </a:ext>
            </a:extLst>
          </p:cNvPr>
          <p:cNvSpPr/>
          <p:nvPr/>
        </p:nvSpPr>
        <p:spPr>
          <a:xfrm>
            <a:off x="6934079" y="230450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970132-D6BD-BA01-FA6D-828AD7344DFD}"/>
              </a:ext>
            </a:extLst>
          </p:cNvPr>
          <p:cNvSpPr/>
          <p:nvPr/>
        </p:nvSpPr>
        <p:spPr>
          <a:xfrm>
            <a:off x="8667184" y="237362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CE066C-D9F5-DF72-5411-0A980749B907}"/>
              </a:ext>
            </a:extLst>
          </p:cNvPr>
          <p:cNvSpPr/>
          <p:nvPr/>
        </p:nvSpPr>
        <p:spPr>
          <a:xfrm>
            <a:off x="2217223" y="839149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0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E3F073-E389-5B7D-F3D8-11DA13885201}"/>
              </a:ext>
            </a:extLst>
          </p:cNvPr>
          <p:cNvSpPr/>
          <p:nvPr/>
        </p:nvSpPr>
        <p:spPr>
          <a:xfrm>
            <a:off x="3747259" y="829025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15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FDD400-EDD7-161E-3261-685F247B7F34}"/>
              </a:ext>
            </a:extLst>
          </p:cNvPr>
          <p:cNvSpPr/>
          <p:nvPr/>
        </p:nvSpPr>
        <p:spPr>
          <a:xfrm>
            <a:off x="5340669" y="839149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68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89346D-E422-4FCF-8B0D-510DDDC2C168}"/>
              </a:ext>
            </a:extLst>
          </p:cNvPr>
          <p:cNvSpPr/>
          <p:nvPr/>
        </p:nvSpPr>
        <p:spPr>
          <a:xfrm>
            <a:off x="6934079" y="839149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5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401101-653E-1958-EA10-793EE92FDEC2}"/>
              </a:ext>
            </a:extLst>
          </p:cNvPr>
          <p:cNvSpPr/>
          <p:nvPr/>
        </p:nvSpPr>
        <p:spPr>
          <a:xfrm>
            <a:off x="8667184" y="846061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82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B49A2D-EBAE-91E4-FE1F-CAD95AA9CCA4}"/>
              </a:ext>
            </a:extLst>
          </p:cNvPr>
          <p:cNvSpPr/>
          <p:nvPr/>
        </p:nvSpPr>
        <p:spPr>
          <a:xfrm>
            <a:off x="2217223" y="1393334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64.278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038A9C-B010-3B5B-4000-8288DF44BAD5}"/>
              </a:ext>
            </a:extLst>
          </p:cNvPr>
          <p:cNvSpPr/>
          <p:nvPr/>
        </p:nvSpPr>
        <p:spPr>
          <a:xfrm>
            <a:off x="10260594" y="218234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23DEC7-F16E-05C3-FDD0-6003E4FD4B74}"/>
              </a:ext>
            </a:extLst>
          </p:cNvPr>
          <p:cNvSpPr/>
          <p:nvPr/>
        </p:nvSpPr>
        <p:spPr>
          <a:xfrm>
            <a:off x="10260594" y="826933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15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41F2769-35B2-5FA1-7F84-D0CF81EE3CF0}"/>
              </a:ext>
            </a:extLst>
          </p:cNvPr>
          <p:cNvSpPr/>
          <p:nvPr/>
        </p:nvSpPr>
        <p:spPr>
          <a:xfrm>
            <a:off x="3747259" y="1388394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23.41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CC0AEC-AC96-B503-2F0E-9DAE8CE134CB}"/>
              </a:ext>
            </a:extLst>
          </p:cNvPr>
          <p:cNvSpPr/>
          <p:nvPr/>
        </p:nvSpPr>
        <p:spPr>
          <a:xfrm>
            <a:off x="5340668" y="1388394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52.716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C0315E8-6C35-200E-62FA-31C8227FED76}"/>
              </a:ext>
            </a:extLst>
          </p:cNvPr>
          <p:cNvSpPr/>
          <p:nvPr/>
        </p:nvSpPr>
        <p:spPr>
          <a:xfrm>
            <a:off x="6934079" y="1378270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7745.98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D421DC-6A23-1EEF-FA1B-624CD3D691ED}"/>
              </a:ext>
            </a:extLst>
          </p:cNvPr>
          <p:cNvSpPr/>
          <p:nvPr/>
        </p:nvSpPr>
        <p:spPr>
          <a:xfrm>
            <a:off x="8667184" y="1388394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941.62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EDEBE6-1575-D65F-2729-4A00B25B0288}"/>
              </a:ext>
            </a:extLst>
          </p:cNvPr>
          <p:cNvSpPr/>
          <p:nvPr/>
        </p:nvSpPr>
        <p:spPr>
          <a:xfrm>
            <a:off x="2217223" y="1690340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31.65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FEF32A-57E0-9796-AE13-8E2FEAA4BDF7}"/>
              </a:ext>
            </a:extLst>
          </p:cNvPr>
          <p:cNvSpPr/>
          <p:nvPr/>
        </p:nvSpPr>
        <p:spPr>
          <a:xfrm>
            <a:off x="3747259" y="1685400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265.14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FBF5DE0-C9F9-AC85-8EF4-E2303D1EE1C6}"/>
              </a:ext>
            </a:extLst>
          </p:cNvPr>
          <p:cNvSpPr/>
          <p:nvPr/>
        </p:nvSpPr>
        <p:spPr>
          <a:xfrm>
            <a:off x="5340668" y="1685400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234.624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B76A24B-D06A-C189-D697-076D559CB18A}"/>
              </a:ext>
            </a:extLst>
          </p:cNvPr>
          <p:cNvSpPr/>
          <p:nvPr/>
        </p:nvSpPr>
        <p:spPr>
          <a:xfrm>
            <a:off x="6934079" y="1675276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314.124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3C313E-184E-E2D2-1CC6-032BE2F4A66C}"/>
              </a:ext>
            </a:extLst>
          </p:cNvPr>
          <p:cNvSpPr/>
          <p:nvPr/>
        </p:nvSpPr>
        <p:spPr>
          <a:xfrm>
            <a:off x="8667184" y="1685400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394.53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41F2A4D-9514-7003-DF7A-599D2B792435}"/>
              </a:ext>
            </a:extLst>
          </p:cNvPr>
          <p:cNvSpPr/>
          <p:nvPr/>
        </p:nvSpPr>
        <p:spPr>
          <a:xfrm>
            <a:off x="2217223" y="1987346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1A1CEE0-1A9F-02D4-6EAF-765517FE3D05}"/>
              </a:ext>
            </a:extLst>
          </p:cNvPr>
          <p:cNvSpPr/>
          <p:nvPr/>
        </p:nvSpPr>
        <p:spPr>
          <a:xfrm>
            <a:off x="3747259" y="1982406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B034411-0029-1D2D-BC06-4368C6DEAFB9}"/>
              </a:ext>
            </a:extLst>
          </p:cNvPr>
          <p:cNvSpPr/>
          <p:nvPr/>
        </p:nvSpPr>
        <p:spPr>
          <a:xfrm>
            <a:off x="5348213" y="197228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D2A876C-AB48-4272-DA1E-0450EC53490F}"/>
              </a:ext>
            </a:extLst>
          </p:cNvPr>
          <p:cNvSpPr/>
          <p:nvPr/>
        </p:nvSpPr>
        <p:spPr>
          <a:xfrm>
            <a:off x="6934079" y="197228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2AAC066-CEA2-47C5-BB25-729595B5AB28}"/>
              </a:ext>
            </a:extLst>
          </p:cNvPr>
          <p:cNvSpPr/>
          <p:nvPr/>
        </p:nvSpPr>
        <p:spPr>
          <a:xfrm>
            <a:off x="8667184" y="1982406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AE7455E-9ACE-9E01-D240-A11573BB6C31}"/>
              </a:ext>
            </a:extLst>
          </p:cNvPr>
          <p:cNvSpPr/>
          <p:nvPr/>
        </p:nvSpPr>
        <p:spPr>
          <a:xfrm>
            <a:off x="2217223" y="228435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41.46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E5E5795-894B-509E-539F-AB481B919366}"/>
              </a:ext>
            </a:extLst>
          </p:cNvPr>
          <p:cNvSpPr/>
          <p:nvPr/>
        </p:nvSpPr>
        <p:spPr>
          <a:xfrm>
            <a:off x="3747259" y="227941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189.25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48D35D-1F3F-B8EB-402B-A158CC77AF48}"/>
              </a:ext>
            </a:extLst>
          </p:cNvPr>
          <p:cNvSpPr/>
          <p:nvPr/>
        </p:nvSpPr>
        <p:spPr>
          <a:xfrm>
            <a:off x="5340668" y="227941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12.41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0F1DB57-C591-5F70-D3BF-D0780BF787B8}"/>
              </a:ext>
            </a:extLst>
          </p:cNvPr>
          <p:cNvSpPr/>
          <p:nvPr/>
        </p:nvSpPr>
        <p:spPr>
          <a:xfrm>
            <a:off x="6934079" y="2269288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5.76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1A3786-95C4-3584-1C5D-0AF02B6B2773}"/>
              </a:ext>
            </a:extLst>
          </p:cNvPr>
          <p:cNvSpPr/>
          <p:nvPr/>
        </p:nvSpPr>
        <p:spPr>
          <a:xfrm>
            <a:off x="8667184" y="227941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452.94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EB0A933-C5E9-1FA9-34E9-ABEC14DFD5AC}"/>
              </a:ext>
            </a:extLst>
          </p:cNvPr>
          <p:cNvSpPr/>
          <p:nvPr/>
        </p:nvSpPr>
        <p:spPr>
          <a:xfrm>
            <a:off x="2217223" y="2581358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.421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5DA88A7-4548-39AA-857D-695A25517675}"/>
              </a:ext>
            </a:extLst>
          </p:cNvPr>
          <p:cNvSpPr/>
          <p:nvPr/>
        </p:nvSpPr>
        <p:spPr>
          <a:xfrm>
            <a:off x="3747259" y="2576418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6.416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BA73A24-98F4-88A0-F777-459800A63941}"/>
              </a:ext>
            </a:extLst>
          </p:cNvPr>
          <p:cNvSpPr/>
          <p:nvPr/>
        </p:nvSpPr>
        <p:spPr>
          <a:xfrm>
            <a:off x="5340668" y="2576418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794.127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19C9AFB-5383-4D23-A0A1-C1079E12A1CC}"/>
              </a:ext>
            </a:extLst>
          </p:cNvPr>
          <p:cNvSpPr/>
          <p:nvPr/>
        </p:nvSpPr>
        <p:spPr>
          <a:xfrm>
            <a:off x="6934079" y="2566294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543.34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A80BEE9-03F9-C581-252D-85AE67DFD3E0}"/>
              </a:ext>
            </a:extLst>
          </p:cNvPr>
          <p:cNvSpPr/>
          <p:nvPr/>
        </p:nvSpPr>
        <p:spPr>
          <a:xfrm>
            <a:off x="8670836" y="2576418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643.166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5162313-E7D5-18FB-7A8F-0DAAC485C227}"/>
              </a:ext>
            </a:extLst>
          </p:cNvPr>
          <p:cNvCxnSpPr>
            <a:cxnSpLocks/>
            <a:stCxn id="4" idx="2"/>
            <a:endCxn id="9" idx="0"/>
          </p:cNvCxnSpPr>
          <p:nvPr/>
        </p:nvCxnSpPr>
        <p:spPr>
          <a:xfrm>
            <a:off x="2689172" y="604076"/>
            <a:ext cx="0" cy="2350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13C8E9FA-80FE-86F7-7E73-44B9D38A5B03}"/>
              </a:ext>
            </a:extLst>
          </p:cNvPr>
          <p:cNvCxnSpPr>
            <a:cxnSpLocks/>
          </p:cNvCxnSpPr>
          <p:nvPr/>
        </p:nvCxnSpPr>
        <p:spPr>
          <a:xfrm>
            <a:off x="5820162" y="610988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AFA730B-D2BA-57BF-D7E7-04EA822A42B9}"/>
              </a:ext>
            </a:extLst>
          </p:cNvPr>
          <p:cNvCxnSpPr>
            <a:cxnSpLocks/>
          </p:cNvCxnSpPr>
          <p:nvPr/>
        </p:nvCxnSpPr>
        <p:spPr>
          <a:xfrm>
            <a:off x="4208646" y="610988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9C3EA07F-6A02-A248-6DF7-30DD5667BE8E}"/>
              </a:ext>
            </a:extLst>
          </p:cNvPr>
          <p:cNvCxnSpPr>
            <a:cxnSpLocks/>
          </p:cNvCxnSpPr>
          <p:nvPr/>
        </p:nvCxnSpPr>
        <p:spPr>
          <a:xfrm>
            <a:off x="7395466" y="604076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669FF19-53F5-3CBB-8C54-0BA4A0E3F425}"/>
              </a:ext>
            </a:extLst>
          </p:cNvPr>
          <p:cNvCxnSpPr>
            <a:cxnSpLocks/>
          </p:cNvCxnSpPr>
          <p:nvPr/>
        </p:nvCxnSpPr>
        <p:spPr>
          <a:xfrm>
            <a:off x="9142785" y="610988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8B493176-AEB0-452F-A2D8-F6664F093C8D}"/>
              </a:ext>
            </a:extLst>
          </p:cNvPr>
          <p:cNvCxnSpPr>
            <a:cxnSpLocks/>
          </p:cNvCxnSpPr>
          <p:nvPr/>
        </p:nvCxnSpPr>
        <p:spPr>
          <a:xfrm>
            <a:off x="10727142" y="591860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7613E10-4152-70B1-A65D-E304CD96575B}"/>
              </a:ext>
            </a:extLst>
          </p:cNvPr>
          <p:cNvCxnSpPr/>
          <p:nvPr/>
        </p:nvCxnSpPr>
        <p:spPr>
          <a:xfrm>
            <a:off x="2689172" y="1200559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B71FB6C-AD9E-50C6-3D95-014095ED7717}"/>
              </a:ext>
            </a:extLst>
          </p:cNvPr>
          <p:cNvCxnSpPr/>
          <p:nvPr/>
        </p:nvCxnSpPr>
        <p:spPr>
          <a:xfrm>
            <a:off x="5820162" y="1207471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E1ACE3C-3242-4360-912B-6066739DD200}"/>
              </a:ext>
            </a:extLst>
          </p:cNvPr>
          <p:cNvCxnSpPr/>
          <p:nvPr/>
        </p:nvCxnSpPr>
        <p:spPr>
          <a:xfrm>
            <a:off x="4208646" y="1207471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A1AA26B3-D8D8-CB57-AB36-DFA19B951246}"/>
              </a:ext>
            </a:extLst>
          </p:cNvPr>
          <p:cNvCxnSpPr/>
          <p:nvPr/>
        </p:nvCxnSpPr>
        <p:spPr>
          <a:xfrm>
            <a:off x="7395466" y="1200559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D4B6E4E-ECA2-BD6F-C866-937CC3255761}"/>
              </a:ext>
            </a:extLst>
          </p:cNvPr>
          <p:cNvCxnSpPr/>
          <p:nvPr/>
        </p:nvCxnSpPr>
        <p:spPr>
          <a:xfrm>
            <a:off x="9142785" y="1207471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6CE8116F-5384-F6C3-689F-9405488DE0D0}"/>
              </a:ext>
            </a:extLst>
          </p:cNvPr>
          <p:cNvCxnSpPr/>
          <p:nvPr/>
        </p:nvCxnSpPr>
        <p:spPr>
          <a:xfrm>
            <a:off x="10727142" y="1188343"/>
            <a:ext cx="0" cy="182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8B92A1A9-0DDE-3407-4487-D720AF698344}"/>
              </a:ext>
            </a:extLst>
          </p:cNvPr>
          <p:cNvSpPr txBox="1"/>
          <p:nvPr/>
        </p:nvSpPr>
        <p:spPr>
          <a:xfrm>
            <a:off x="442841" y="237362"/>
            <a:ext cx="1291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riginal sentence</a:t>
            </a:r>
          </a:p>
          <a:p>
            <a:r>
              <a:rPr lang="en-US" sz="1200" dirty="0"/>
              <a:t>(token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EC5A50E-A730-2F9A-AE91-22A4C1769226}"/>
              </a:ext>
            </a:extLst>
          </p:cNvPr>
          <p:cNvSpPr txBox="1"/>
          <p:nvPr/>
        </p:nvSpPr>
        <p:spPr>
          <a:xfrm>
            <a:off x="442841" y="856568"/>
            <a:ext cx="1291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Input IDs</a:t>
            </a:r>
          </a:p>
          <a:p>
            <a:r>
              <a:rPr lang="en-US" sz="1200" dirty="0"/>
              <a:t>(position in the vocabulary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4B1BAF8-F2C2-6272-9C12-B39AFB7382A5}"/>
              </a:ext>
            </a:extLst>
          </p:cNvPr>
          <p:cNvSpPr txBox="1"/>
          <p:nvPr/>
        </p:nvSpPr>
        <p:spPr>
          <a:xfrm>
            <a:off x="441186" y="1808401"/>
            <a:ext cx="1291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mbedding</a:t>
            </a:r>
          </a:p>
          <a:p>
            <a:r>
              <a:rPr lang="en-US" sz="1200" dirty="0"/>
              <a:t>(vector of size 512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975BA3C-EDCC-44FC-5F67-98CDFE2472FB}"/>
              </a:ext>
            </a:extLst>
          </p:cNvPr>
          <p:cNvSpPr/>
          <p:nvPr/>
        </p:nvSpPr>
        <p:spPr>
          <a:xfrm>
            <a:off x="10252270" y="1396302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23.415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9A1C136-C7F6-87A0-0D1A-28A4E59BBC00}"/>
              </a:ext>
            </a:extLst>
          </p:cNvPr>
          <p:cNvSpPr/>
          <p:nvPr/>
        </p:nvSpPr>
        <p:spPr>
          <a:xfrm>
            <a:off x="10252270" y="1693308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265.142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9526D31-77A3-8A2E-F1E0-E56DF3280DD9}"/>
              </a:ext>
            </a:extLst>
          </p:cNvPr>
          <p:cNvSpPr/>
          <p:nvPr/>
        </p:nvSpPr>
        <p:spPr>
          <a:xfrm>
            <a:off x="10252270" y="1990314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34F8110-7100-8B87-4D66-C8A816F373AE}"/>
              </a:ext>
            </a:extLst>
          </p:cNvPr>
          <p:cNvSpPr/>
          <p:nvPr/>
        </p:nvSpPr>
        <p:spPr>
          <a:xfrm>
            <a:off x="10252270" y="2287320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189.251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F3830CD-2A66-C2FD-8F0F-AB6D07B822B4}"/>
              </a:ext>
            </a:extLst>
          </p:cNvPr>
          <p:cNvSpPr/>
          <p:nvPr/>
        </p:nvSpPr>
        <p:spPr>
          <a:xfrm>
            <a:off x="10252270" y="2584326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6.416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F2B65C8-26CD-BA62-3ED3-C40EC1D74319}"/>
              </a:ext>
            </a:extLst>
          </p:cNvPr>
          <p:cNvSpPr/>
          <p:nvPr/>
        </p:nvSpPr>
        <p:spPr>
          <a:xfrm>
            <a:off x="2217223" y="309407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FB9FF06-7D21-4474-A240-BF4CB531CF26}"/>
              </a:ext>
            </a:extLst>
          </p:cNvPr>
          <p:cNvSpPr/>
          <p:nvPr/>
        </p:nvSpPr>
        <p:spPr>
          <a:xfrm>
            <a:off x="3747259" y="308913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165.042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FF7CD70-9EE7-F92B-1F9C-41AB19AF81F0}"/>
              </a:ext>
            </a:extLst>
          </p:cNvPr>
          <p:cNvSpPr/>
          <p:nvPr/>
        </p:nvSpPr>
        <p:spPr>
          <a:xfrm>
            <a:off x="5340668" y="308913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18AD489-1650-0CD6-C328-1588425F45DA}"/>
              </a:ext>
            </a:extLst>
          </p:cNvPr>
          <p:cNvSpPr/>
          <p:nvPr/>
        </p:nvSpPr>
        <p:spPr>
          <a:xfrm>
            <a:off x="6934079" y="307900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FDD514A-2CDE-E0E8-A4DC-A878B78C3457}"/>
              </a:ext>
            </a:extLst>
          </p:cNvPr>
          <p:cNvSpPr/>
          <p:nvPr/>
        </p:nvSpPr>
        <p:spPr>
          <a:xfrm>
            <a:off x="8667184" y="308913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...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B944292-C977-C3A4-303E-47327D157989}"/>
              </a:ext>
            </a:extLst>
          </p:cNvPr>
          <p:cNvSpPr/>
          <p:nvPr/>
        </p:nvSpPr>
        <p:spPr>
          <a:xfrm>
            <a:off x="2217223" y="339107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23AD7C1-872E-B089-148D-5A257B5C9F6F}"/>
              </a:ext>
            </a:extLst>
          </p:cNvPr>
          <p:cNvSpPr/>
          <p:nvPr/>
        </p:nvSpPr>
        <p:spPr>
          <a:xfrm>
            <a:off x="3747259" y="338613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234.176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9502F84-721E-6D59-860E-AF76B01AD857}"/>
              </a:ext>
            </a:extLst>
          </p:cNvPr>
          <p:cNvSpPr/>
          <p:nvPr/>
        </p:nvSpPr>
        <p:spPr>
          <a:xfrm>
            <a:off x="5340668" y="338613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AA3E50A-AF99-37C3-0DD6-4B4BC0716462}"/>
              </a:ext>
            </a:extLst>
          </p:cNvPr>
          <p:cNvSpPr/>
          <p:nvPr/>
        </p:nvSpPr>
        <p:spPr>
          <a:xfrm>
            <a:off x="6934079" y="337601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4508FB7-5D47-4337-C21F-9E200F9F7B4C}"/>
              </a:ext>
            </a:extLst>
          </p:cNvPr>
          <p:cNvSpPr/>
          <p:nvPr/>
        </p:nvSpPr>
        <p:spPr>
          <a:xfrm>
            <a:off x="8667184" y="338613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348438C-CF3D-1B3C-E71D-F26FCED05495}"/>
              </a:ext>
            </a:extLst>
          </p:cNvPr>
          <p:cNvSpPr/>
          <p:nvPr/>
        </p:nvSpPr>
        <p:spPr>
          <a:xfrm>
            <a:off x="2217223" y="368808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56EF62D-3368-90CA-69AF-F2CF49098085}"/>
              </a:ext>
            </a:extLst>
          </p:cNvPr>
          <p:cNvSpPr/>
          <p:nvPr/>
        </p:nvSpPr>
        <p:spPr>
          <a:xfrm>
            <a:off x="3747259" y="368314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D0A4E07-9FB4-A7D0-216C-C0E0C29BF111}"/>
              </a:ext>
            </a:extLst>
          </p:cNvPr>
          <p:cNvSpPr/>
          <p:nvPr/>
        </p:nvSpPr>
        <p:spPr>
          <a:xfrm>
            <a:off x="5348213" y="367302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0DEC935-883A-FE45-A077-586BB5539F70}"/>
              </a:ext>
            </a:extLst>
          </p:cNvPr>
          <p:cNvSpPr/>
          <p:nvPr/>
        </p:nvSpPr>
        <p:spPr>
          <a:xfrm>
            <a:off x="6934079" y="367302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05831C4-206B-4E43-DB1D-8A9F5FB83804}"/>
              </a:ext>
            </a:extLst>
          </p:cNvPr>
          <p:cNvSpPr/>
          <p:nvPr/>
        </p:nvSpPr>
        <p:spPr>
          <a:xfrm>
            <a:off x="8667184" y="368314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EBAF462-2467-5608-20F0-ACECA30A6E2A}"/>
              </a:ext>
            </a:extLst>
          </p:cNvPr>
          <p:cNvSpPr/>
          <p:nvPr/>
        </p:nvSpPr>
        <p:spPr>
          <a:xfrm>
            <a:off x="2217223" y="398509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929B6D6F-3FEB-8E62-E64B-F913BCA1C29B}"/>
              </a:ext>
            </a:extLst>
          </p:cNvPr>
          <p:cNvSpPr/>
          <p:nvPr/>
        </p:nvSpPr>
        <p:spPr>
          <a:xfrm>
            <a:off x="3747259" y="398015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177.235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5B6C7E7-6828-FD09-8E56-ABDFF3E4F084}"/>
              </a:ext>
            </a:extLst>
          </p:cNvPr>
          <p:cNvSpPr/>
          <p:nvPr/>
        </p:nvSpPr>
        <p:spPr>
          <a:xfrm>
            <a:off x="5340668" y="398015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8794063-15DB-3339-5AD9-A796A8A38A89}"/>
              </a:ext>
            </a:extLst>
          </p:cNvPr>
          <p:cNvSpPr/>
          <p:nvPr/>
        </p:nvSpPr>
        <p:spPr>
          <a:xfrm>
            <a:off x="6934079" y="397002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689C0FA8-475F-01AF-30EE-C855048C26F7}"/>
              </a:ext>
            </a:extLst>
          </p:cNvPr>
          <p:cNvSpPr/>
          <p:nvPr/>
        </p:nvSpPr>
        <p:spPr>
          <a:xfrm>
            <a:off x="8667184" y="398015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A7F9E5A-7140-CA16-3B5B-477D3D5ABA9C}"/>
              </a:ext>
            </a:extLst>
          </p:cNvPr>
          <p:cNvSpPr/>
          <p:nvPr/>
        </p:nvSpPr>
        <p:spPr>
          <a:xfrm>
            <a:off x="2217223" y="428209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DB6C1A0-E7C4-80CA-E31D-13AAEB813851}"/>
              </a:ext>
            </a:extLst>
          </p:cNvPr>
          <p:cNvSpPr/>
          <p:nvPr/>
        </p:nvSpPr>
        <p:spPr>
          <a:xfrm>
            <a:off x="3747259" y="427715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7412.246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75C3761-16EC-3C94-F90F-7521727B805D}"/>
              </a:ext>
            </a:extLst>
          </p:cNvPr>
          <p:cNvSpPr/>
          <p:nvPr/>
        </p:nvSpPr>
        <p:spPr>
          <a:xfrm>
            <a:off x="5340668" y="427715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F7707D6-9F65-174C-9757-E7DFCD816445}"/>
              </a:ext>
            </a:extLst>
          </p:cNvPr>
          <p:cNvSpPr/>
          <p:nvPr/>
        </p:nvSpPr>
        <p:spPr>
          <a:xfrm>
            <a:off x="6934079" y="426703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08A3408-6DAD-E3FD-27C0-8AFC29DA8C7A}"/>
              </a:ext>
            </a:extLst>
          </p:cNvPr>
          <p:cNvSpPr/>
          <p:nvPr/>
        </p:nvSpPr>
        <p:spPr>
          <a:xfrm>
            <a:off x="8670836" y="427715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1AD96B4-4C8B-EC45-13B9-8A1F02EEA458}"/>
              </a:ext>
            </a:extLst>
          </p:cNvPr>
          <p:cNvSpPr txBox="1"/>
          <p:nvPr/>
        </p:nvSpPr>
        <p:spPr>
          <a:xfrm>
            <a:off x="441186" y="2944047"/>
            <a:ext cx="12918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Positional Embedding</a:t>
            </a:r>
          </a:p>
          <a:p>
            <a:r>
              <a:rPr lang="en-US" sz="1200" dirty="0"/>
              <a:t>(vector of size 512). Only computed once and reused for every sentence during training and inferenc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D4A406F-BA68-5B15-AB22-719A8D08A7C3}"/>
              </a:ext>
            </a:extLst>
          </p:cNvPr>
          <p:cNvSpPr/>
          <p:nvPr/>
        </p:nvSpPr>
        <p:spPr>
          <a:xfrm>
            <a:off x="10252270" y="309704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134.245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7D1B358-4F9B-D3B0-FDAA-63EE3B92D31A}"/>
              </a:ext>
            </a:extLst>
          </p:cNvPr>
          <p:cNvSpPr/>
          <p:nvPr/>
        </p:nvSpPr>
        <p:spPr>
          <a:xfrm>
            <a:off x="10252270" y="339404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7469.514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A9F2FB4-933E-00E4-CCE1-8F5E99278783}"/>
              </a:ext>
            </a:extLst>
          </p:cNvPr>
          <p:cNvSpPr/>
          <p:nvPr/>
        </p:nvSpPr>
        <p:spPr>
          <a:xfrm>
            <a:off x="10252270" y="369105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6A29C83-8171-FE9E-910B-A2B8684535AA}"/>
              </a:ext>
            </a:extLst>
          </p:cNvPr>
          <p:cNvSpPr/>
          <p:nvPr/>
        </p:nvSpPr>
        <p:spPr>
          <a:xfrm>
            <a:off x="10252270" y="398805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318.419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669C1BE-AF46-AFD6-A7C3-EFE3A81F7E56}"/>
              </a:ext>
            </a:extLst>
          </p:cNvPr>
          <p:cNvSpPr/>
          <p:nvPr/>
        </p:nvSpPr>
        <p:spPr>
          <a:xfrm>
            <a:off x="10252270" y="428506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899.659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AA6AAB1-76CA-116F-B6DA-8A0148F70373}"/>
              </a:ext>
            </a:extLst>
          </p:cNvPr>
          <p:cNvSpPr txBox="1"/>
          <p:nvPr/>
        </p:nvSpPr>
        <p:spPr>
          <a:xfrm>
            <a:off x="2539130" y="277566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+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A483BF6-2C19-CDDE-6680-4D0EEA182DEC}"/>
              </a:ext>
            </a:extLst>
          </p:cNvPr>
          <p:cNvSpPr txBox="1"/>
          <p:nvPr/>
        </p:nvSpPr>
        <p:spPr>
          <a:xfrm>
            <a:off x="4069166" y="277566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+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810DDC4-0BCF-864B-D603-0310114E507B}"/>
              </a:ext>
            </a:extLst>
          </p:cNvPr>
          <p:cNvSpPr txBox="1"/>
          <p:nvPr/>
        </p:nvSpPr>
        <p:spPr>
          <a:xfrm>
            <a:off x="5662577" y="277566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+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A669F5C-05D9-3821-F838-C1E2B5748DE3}"/>
              </a:ext>
            </a:extLst>
          </p:cNvPr>
          <p:cNvSpPr txBox="1"/>
          <p:nvPr/>
        </p:nvSpPr>
        <p:spPr>
          <a:xfrm>
            <a:off x="7259849" y="277566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+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4A550BE-253A-6FB9-85C2-F9A5E43208BE}"/>
              </a:ext>
            </a:extLst>
          </p:cNvPr>
          <p:cNvSpPr txBox="1"/>
          <p:nvPr/>
        </p:nvSpPr>
        <p:spPr>
          <a:xfrm>
            <a:off x="8989091" y="277566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+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4F734A9-8C8E-3B92-F9E6-87569725BF7D}"/>
              </a:ext>
            </a:extLst>
          </p:cNvPr>
          <p:cNvSpPr txBox="1"/>
          <p:nvPr/>
        </p:nvSpPr>
        <p:spPr>
          <a:xfrm>
            <a:off x="10583549" y="277566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+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AB4209E-4CD4-933D-1AF3-64457F140083}"/>
              </a:ext>
            </a:extLst>
          </p:cNvPr>
          <p:cNvSpPr txBox="1"/>
          <p:nvPr/>
        </p:nvSpPr>
        <p:spPr>
          <a:xfrm>
            <a:off x="2528569" y="449401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4453CB5-9722-0FC9-5DDA-1B4A6CA51463}"/>
              </a:ext>
            </a:extLst>
          </p:cNvPr>
          <p:cNvSpPr txBox="1"/>
          <p:nvPr/>
        </p:nvSpPr>
        <p:spPr>
          <a:xfrm>
            <a:off x="4058605" y="449401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F0C6E5E2-082E-7449-88E2-6EA1778C4F61}"/>
              </a:ext>
            </a:extLst>
          </p:cNvPr>
          <p:cNvSpPr txBox="1"/>
          <p:nvPr/>
        </p:nvSpPr>
        <p:spPr>
          <a:xfrm>
            <a:off x="5652016" y="449401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1F4A742-D27D-BD58-32FE-12F70FC91D3B}"/>
              </a:ext>
            </a:extLst>
          </p:cNvPr>
          <p:cNvSpPr txBox="1"/>
          <p:nvPr/>
        </p:nvSpPr>
        <p:spPr>
          <a:xfrm>
            <a:off x="7249288" y="449401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0854534-AD58-43D9-6E7B-96209EBC02A0}"/>
              </a:ext>
            </a:extLst>
          </p:cNvPr>
          <p:cNvSpPr txBox="1"/>
          <p:nvPr/>
        </p:nvSpPr>
        <p:spPr>
          <a:xfrm>
            <a:off x="8978530" y="449401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767B5C3-30E5-3214-A8FE-757E2BDE69CA}"/>
              </a:ext>
            </a:extLst>
          </p:cNvPr>
          <p:cNvSpPr txBox="1"/>
          <p:nvPr/>
        </p:nvSpPr>
        <p:spPr>
          <a:xfrm>
            <a:off x="10572988" y="449401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98401016-B8C9-701C-5C0A-8162B2C1A619}"/>
              </a:ext>
            </a:extLst>
          </p:cNvPr>
          <p:cNvSpPr txBox="1"/>
          <p:nvPr/>
        </p:nvSpPr>
        <p:spPr>
          <a:xfrm>
            <a:off x="441186" y="4864522"/>
            <a:ext cx="1291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ncoder Input</a:t>
            </a:r>
          </a:p>
          <a:p>
            <a:r>
              <a:rPr lang="en-US" sz="1200" dirty="0"/>
              <a:t>(vector of size 512)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51A88743-0E92-8EEE-D1AA-CF8420B0AAB6}"/>
              </a:ext>
            </a:extLst>
          </p:cNvPr>
          <p:cNvSpPr/>
          <p:nvPr/>
        </p:nvSpPr>
        <p:spPr>
          <a:xfrm>
            <a:off x="2217223" y="4823915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7D2EB3E-06A9-EBE8-062C-ACED87BAE8B7}"/>
              </a:ext>
            </a:extLst>
          </p:cNvPr>
          <p:cNvSpPr/>
          <p:nvPr/>
        </p:nvSpPr>
        <p:spPr>
          <a:xfrm>
            <a:off x="3747259" y="4818975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688.457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B0484DC-507E-7142-0DE2-519D52211291}"/>
              </a:ext>
            </a:extLst>
          </p:cNvPr>
          <p:cNvSpPr/>
          <p:nvPr/>
        </p:nvSpPr>
        <p:spPr>
          <a:xfrm>
            <a:off x="5340668" y="4818975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4450BAD-FBD6-2B85-B9F9-95430CE92665}"/>
              </a:ext>
            </a:extLst>
          </p:cNvPr>
          <p:cNvSpPr/>
          <p:nvPr/>
        </p:nvSpPr>
        <p:spPr>
          <a:xfrm>
            <a:off x="6934079" y="4808851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50994027-5BDA-A202-08A8-83D3823C3EEE}"/>
              </a:ext>
            </a:extLst>
          </p:cNvPr>
          <p:cNvSpPr/>
          <p:nvPr/>
        </p:nvSpPr>
        <p:spPr>
          <a:xfrm>
            <a:off x="8667184" y="4818975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...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3F383B4-403D-ED91-504A-F46C71F31E7A}"/>
              </a:ext>
            </a:extLst>
          </p:cNvPr>
          <p:cNvSpPr/>
          <p:nvPr/>
        </p:nvSpPr>
        <p:spPr>
          <a:xfrm>
            <a:off x="2217223" y="5120921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98ED2F90-01E1-291A-E5FF-05B904248203}"/>
              </a:ext>
            </a:extLst>
          </p:cNvPr>
          <p:cNvSpPr/>
          <p:nvPr/>
        </p:nvSpPr>
        <p:spPr>
          <a:xfrm>
            <a:off x="3747259" y="5115981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7499.318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3B0C5D8A-2C59-D692-BF71-E02960B1EA69}"/>
              </a:ext>
            </a:extLst>
          </p:cNvPr>
          <p:cNvSpPr/>
          <p:nvPr/>
        </p:nvSpPr>
        <p:spPr>
          <a:xfrm>
            <a:off x="5340668" y="5115981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A9B1001-A6D2-F0CB-3D23-D0DCF0B4B4D5}"/>
              </a:ext>
            </a:extLst>
          </p:cNvPr>
          <p:cNvSpPr/>
          <p:nvPr/>
        </p:nvSpPr>
        <p:spPr>
          <a:xfrm>
            <a:off x="6934079" y="5105857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11F49FE2-86AE-C17D-93E1-AA860565B023}"/>
              </a:ext>
            </a:extLst>
          </p:cNvPr>
          <p:cNvSpPr/>
          <p:nvPr/>
        </p:nvSpPr>
        <p:spPr>
          <a:xfrm>
            <a:off x="8667184" y="5115981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F4A34ED-D8DF-1B4E-0455-AEF88E7CF679}"/>
              </a:ext>
            </a:extLst>
          </p:cNvPr>
          <p:cNvSpPr/>
          <p:nvPr/>
        </p:nvSpPr>
        <p:spPr>
          <a:xfrm>
            <a:off x="2217223" y="5417927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47FBD4EC-38A5-DD0E-8BF3-3311301CE58B}"/>
              </a:ext>
            </a:extLst>
          </p:cNvPr>
          <p:cNvSpPr/>
          <p:nvPr/>
        </p:nvSpPr>
        <p:spPr>
          <a:xfrm>
            <a:off x="3747259" y="5412987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488E3EA6-1AA6-F2B0-C4AF-0B4F26B94C0F}"/>
              </a:ext>
            </a:extLst>
          </p:cNvPr>
          <p:cNvSpPr/>
          <p:nvPr/>
        </p:nvSpPr>
        <p:spPr>
          <a:xfrm>
            <a:off x="5348213" y="540286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80E03F9-1965-182C-A055-8C2EED702C9A}"/>
              </a:ext>
            </a:extLst>
          </p:cNvPr>
          <p:cNvSpPr/>
          <p:nvPr/>
        </p:nvSpPr>
        <p:spPr>
          <a:xfrm>
            <a:off x="6934079" y="540286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6CC9941-33BB-0646-60FF-D6500C7E5B72}"/>
              </a:ext>
            </a:extLst>
          </p:cNvPr>
          <p:cNvSpPr/>
          <p:nvPr/>
        </p:nvSpPr>
        <p:spPr>
          <a:xfrm>
            <a:off x="8667184" y="5412987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16614360-4FAA-37C4-F411-C80D3880CE04}"/>
              </a:ext>
            </a:extLst>
          </p:cNvPr>
          <p:cNvSpPr/>
          <p:nvPr/>
        </p:nvSpPr>
        <p:spPr>
          <a:xfrm>
            <a:off x="2217223" y="571493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0CBF180C-38FE-C764-0B51-EDE7323C8C6D}"/>
              </a:ext>
            </a:extLst>
          </p:cNvPr>
          <p:cNvSpPr/>
          <p:nvPr/>
        </p:nvSpPr>
        <p:spPr>
          <a:xfrm>
            <a:off x="3747259" y="570999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366.486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60D21E4-AD29-9258-0DB4-40B2D572A3D1}"/>
              </a:ext>
            </a:extLst>
          </p:cNvPr>
          <p:cNvSpPr/>
          <p:nvPr/>
        </p:nvSpPr>
        <p:spPr>
          <a:xfrm>
            <a:off x="5340668" y="570999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B88F1C9-9FD3-6569-F870-A4AFA4F2E037}"/>
              </a:ext>
            </a:extLst>
          </p:cNvPr>
          <p:cNvSpPr/>
          <p:nvPr/>
        </p:nvSpPr>
        <p:spPr>
          <a:xfrm>
            <a:off x="6934079" y="5699869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1A04FACD-07F7-0D88-07A1-29CBC95EFD2D}"/>
              </a:ext>
            </a:extLst>
          </p:cNvPr>
          <p:cNvSpPr/>
          <p:nvPr/>
        </p:nvSpPr>
        <p:spPr>
          <a:xfrm>
            <a:off x="8667184" y="570999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B4BC51EF-1CDF-2505-F23B-AF4AA3928CD7}"/>
              </a:ext>
            </a:extLst>
          </p:cNvPr>
          <p:cNvSpPr/>
          <p:nvPr/>
        </p:nvSpPr>
        <p:spPr>
          <a:xfrm>
            <a:off x="2217223" y="6011939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670FBCBD-B5C7-F0C6-17B9-97C8A11BF808}"/>
              </a:ext>
            </a:extLst>
          </p:cNvPr>
          <p:cNvSpPr/>
          <p:nvPr/>
        </p:nvSpPr>
        <p:spPr>
          <a:xfrm>
            <a:off x="3747259" y="6006999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7428.662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D808FA83-D212-FBD6-9D5E-924F2226C5A9}"/>
              </a:ext>
            </a:extLst>
          </p:cNvPr>
          <p:cNvSpPr/>
          <p:nvPr/>
        </p:nvSpPr>
        <p:spPr>
          <a:xfrm>
            <a:off x="5340668" y="6006999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DBFBE7-C74F-BC2C-E800-9004B44A832F}"/>
              </a:ext>
            </a:extLst>
          </p:cNvPr>
          <p:cNvSpPr/>
          <p:nvPr/>
        </p:nvSpPr>
        <p:spPr>
          <a:xfrm>
            <a:off x="6934079" y="5996875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D40A97C-A5F0-7D69-4F73-F21E3BB6D8D8}"/>
              </a:ext>
            </a:extLst>
          </p:cNvPr>
          <p:cNvSpPr/>
          <p:nvPr/>
        </p:nvSpPr>
        <p:spPr>
          <a:xfrm>
            <a:off x="8670836" y="6006999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ED49194-B4D0-EA6B-88D4-8420AC14245B}"/>
              </a:ext>
            </a:extLst>
          </p:cNvPr>
          <p:cNvSpPr/>
          <p:nvPr/>
        </p:nvSpPr>
        <p:spPr>
          <a:xfrm>
            <a:off x="10252270" y="4826883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657.660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D75F72A6-F83A-C949-58B0-3855A029C336}"/>
              </a:ext>
            </a:extLst>
          </p:cNvPr>
          <p:cNvSpPr/>
          <p:nvPr/>
        </p:nvSpPr>
        <p:spPr>
          <a:xfrm>
            <a:off x="10252270" y="5123889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8734.656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A95DA1C-BFAE-8240-87F7-308B5FDD7EB5}"/>
              </a:ext>
            </a:extLst>
          </p:cNvPr>
          <p:cNvSpPr/>
          <p:nvPr/>
        </p:nvSpPr>
        <p:spPr>
          <a:xfrm>
            <a:off x="10252270" y="5420895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78BEDE0D-63E2-9260-F73C-670DA70064D7}"/>
              </a:ext>
            </a:extLst>
          </p:cNvPr>
          <p:cNvSpPr/>
          <p:nvPr/>
        </p:nvSpPr>
        <p:spPr>
          <a:xfrm>
            <a:off x="10252270" y="5717901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0507.670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0CDB25F-055F-23DD-F7C8-16953C1A0A7E}"/>
              </a:ext>
            </a:extLst>
          </p:cNvPr>
          <p:cNvSpPr/>
          <p:nvPr/>
        </p:nvSpPr>
        <p:spPr>
          <a:xfrm>
            <a:off x="10252270" y="6014907"/>
            <a:ext cx="943897" cy="27613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6916.075</a:t>
            </a:r>
          </a:p>
        </p:txBody>
      </p:sp>
    </p:spTree>
    <p:extLst>
      <p:ext uri="{BB962C8B-B14F-4D97-AF65-F5344CB8AC3E}">
        <p14:creationId xmlns:p14="http://schemas.microsoft.com/office/powerpoint/2010/main" val="8202039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2D4BD-194E-AF73-F085-F26B4E095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ositional encoding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E6BB33-5F48-B5D1-6235-CDF2D6AC6B7B}"/>
              </a:ext>
            </a:extLst>
          </p:cNvPr>
          <p:cNvSpPr/>
          <p:nvPr/>
        </p:nvSpPr>
        <p:spPr>
          <a:xfrm>
            <a:off x="5992518" y="1887234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1E056B-FD23-0AD6-1D90-C753B05ACD8D}"/>
              </a:ext>
            </a:extLst>
          </p:cNvPr>
          <p:cNvSpPr/>
          <p:nvPr/>
        </p:nvSpPr>
        <p:spPr>
          <a:xfrm>
            <a:off x="7522554" y="1877110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1781CE-C7C3-29E9-68F8-C1F4FE06A4F9}"/>
              </a:ext>
            </a:extLst>
          </p:cNvPr>
          <p:cNvSpPr/>
          <p:nvPr/>
        </p:nvSpPr>
        <p:spPr>
          <a:xfrm>
            <a:off x="9115964" y="1887234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33CE4C-7095-A606-D06A-87BDBF66F0F5}"/>
              </a:ext>
            </a:extLst>
          </p:cNvPr>
          <p:cNvSpPr txBox="1"/>
          <p:nvPr/>
        </p:nvSpPr>
        <p:spPr>
          <a:xfrm>
            <a:off x="838200" y="5107825"/>
            <a:ext cx="2926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We only need to compute the positional  encodings once and reuse them for every sentence during training and infer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551BE4-904C-8712-B1F3-DE640229698A}"/>
              </a:ext>
            </a:extLst>
          </p:cNvPr>
          <p:cNvSpPr txBox="1"/>
          <p:nvPr/>
        </p:nvSpPr>
        <p:spPr>
          <a:xfrm>
            <a:off x="4457079" y="1925423"/>
            <a:ext cx="9438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Sentence 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322743-6DB0-5563-3AA1-A65FAF26342B}"/>
              </a:ext>
            </a:extLst>
          </p:cNvPr>
          <p:cNvSpPr txBox="1"/>
          <p:nvPr/>
        </p:nvSpPr>
        <p:spPr>
          <a:xfrm>
            <a:off x="4462481" y="4060044"/>
            <a:ext cx="9438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Sentence 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26BD3C-873A-ADD7-4467-7BE590A7C2CE}"/>
              </a:ext>
            </a:extLst>
          </p:cNvPr>
          <p:cNvSpPr/>
          <p:nvPr/>
        </p:nvSpPr>
        <p:spPr>
          <a:xfrm>
            <a:off x="7522554" y="2437158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63A90E-C35E-DA66-E23D-1810359C67E8}"/>
              </a:ext>
            </a:extLst>
          </p:cNvPr>
          <p:cNvSpPr/>
          <p:nvPr/>
        </p:nvSpPr>
        <p:spPr>
          <a:xfrm>
            <a:off x="7522554" y="2734164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668236-BB8D-2B76-171F-0DAA06D8B941}"/>
              </a:ext>
            </a:extLst>
          </p:cNvPr>
          <p:cNvSpPr/>
          <p:nvPr/>
        </p:nvSpPr>
        <p:spPr>
          <a:xfrm>
            <a:off x="7522554" y="3031170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50C44C-9B9A-4652-E3DF-EADE1F3440AA}"/>
              </a:ext>
            </a:extLst>
          </p:cNvPr>
          <p:cNvSpPr/>
          <p:nvPr/>
        </p:nvSpPr>
        <p:spPr>
          <a:xfrm>
            <a:off x="7522554" y="3328176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24D7B7-990A-1F8F-4A98-F56A5B0AE818}"/>
              </a:ext>
            </a:extLst>
          </p:cNvPr>
          <p:cNvSpPr/>
          <p:nvPr/>
        </p:nvSpPr>
        <p:spPr>
          <a:xfrm>
            <a:off x="7522554" y="3625182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3FC4711-751A-9AF6-2ABE-E4EB6759FC8E}"/>
              </a:ext>
            </a:extLst>
          </p:cNvPr>
          <p:cNvSpPr/>
          <p:nvPr/>
        </p:nvSpPr>
        <p:spPr>
          <a:xfrm>
            <a:off x="5992518" y="246235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6608F94-8FEB-C672-E71C-A708E2315BB1}"/>
              </a:ext>
            </a:extLst>
          </p:cNvPr>
          <p:cNvSpPr/>
          <p:nvPr/>
        </p:nvSpPr>
        <p:spPr>
          <a:xfrm>
            <a:off x="5992518" y="275935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35F9F7-A8BE-8FEB-11CA-97A322585123}"/>
              </a:ext>
            </a:extLst>
          </p:cNvPr>
          <p:cNvSpPr/>
          <p:nvPr/>
        </p:nvSpPr>
        <p:spPr>
          <a:xfrm>
            <a:off x="5992518" y="305636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C3669F-8048-1838-048C-54D5F6A0885A}"/>
              </a:ext>
            </a:extLst>
          </p:cNvPr>
          <p:cNvSpPr/>
          <p:nvPr/>
        </p:nvSpPr>
        <p:spPr>
          <a:xfrm>
            <a:off x="5992518" y="335336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E1222E-687F-C58D-3AE7-6D7E26B1E2D8}"/>
              </a:ext>
            </a:extLst>
          </p:cNvPr>
          <p:cNvSpPr/>
          <p:nvPr/>
        </p:nvSpPr>
        <p:spPr>
          <a:xfrm>
            <a:off x="5992518" y="365037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DFCC8A5-D848-C29B-9251-16B645926126}"/>
              </a:ext>
            </a:extLst>
          </p:cNvPr>
          <p:cNvSpPr/>
          <p:nvPr/>
        </p:nvSpPr>
        <p:spPr>
          <a:xfrm>
            <a:off x="9115964" y="246235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AF6E225-FE50-120B-3EDD-F2F144A2768F}"/>
              </a:ext>
            </a:extLst>
          </p:cNvPr>
          <p:cNvSpPr/>
          <p:nvPr/>
        </p:nvSpPr>
        <p:spPr>
          <a:xfrm>
            <a:off x="9115964" y="275935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3EF37B-721B-8990-3628-F1B7135D1E19}"/>
              </a:ext>
            </a:extLst>
          </p:cNvPr>
          <p:cNvSpPr/>
          <p:nvPr/>
        </p:nvSpPr>
        <p:spPr>
          <a:xfrm>
            <a:off x="9115964" y="305636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442083-3F6E-6396-5DC3-D9A361C3AB7C}"/>
              </a:ext>
            </a:extLst>
          </p:cNvPr>
          <p:cNvSpPr/>
          <p:nvPr/>
        </p:nvSpPr>
        <p:spPr>
          <a:xfrm>
            <a:off x="9115964" y="335336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E846B-A0E1-D3B6-4FB8-573AD9D624AE}"/>
              </a:ext>
            </a:extLst>
          </p:cNvPr>
          <p:cNvSpPr/>
          <p:nvPr/>
        </p:nvSpPr>
        <p:spPr>
          <a:xfrm>
            <a:off x="9115964" y="365037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353110-BE4B-E4BB-A852-AC7932DA2FFD}"/>
              </a:ext>
            </a:extLst>
          </p:cNvPr>
          <p:cNvSpPr/>
          <p:nvPr/>
        </p:nvSpPr>
        <p:spPr>
          <a:xfrm>
            <a:off x="5992518" y="4250189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e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4D74248-1235-C102-FE8D-33E6AF77CA4E}"/>
              </a:ext>
            </a:extLst>
          </p:cNvPr>
          <p:cNvSpPr/>
          <p:nvPr/>
        </p:nvSpPr>
        <p:spPr>
          <a:xfrm>
            <a:off x="7522554" y="4240065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673F872-1B21-63AF-1DA4-5DA70085A242}"/>
              </a:ext>
            </a:extLst>
          </p:cNvPr>
          <p:cNvSpPr/>
          <p:nvPr/>
        </p:nvSpPr>
        <p:spPr>
          <a:xfrm>
            <a:off x="9115964" y="4250189"/>
            <a:ext cx="943897" cy="37362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6F679BB-7EB4-EB73-2E4C-03D33460A28E}"/>
              </a:ext>
            </a:extLst>
          </p:cNvPr>
          <p:cNvSpPr/>
          <p:nvPr/>
        </p:nvSpPr>
        <p:spPr>
          <a:xfrm>
            <a:off x="7522554" y="4800113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A1D20A7-174F-F182-D597-3063396C31B3}"/>
              </a:ext>
            </a:extLst>
          </p:cNvPr>
          <p:cNvSpPr/>
          <p:nvPr/>
        </p:nvSpPr>
        <p:spPr>
          <a:xfrm>
            <a:off x="7522554" y="5097119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DBC01F-7056-415D-54F2-1DA8DC81ABA3}"/>
              </a:ext>
            </a:extLst>
          </p:cNvPr>
          <p:cNvSpPr/>
          <p:nvPr/>
        </p:nvSpPr>
        <p:spPr>
          <a:xfrm>
            <a:off x="7522554" y="5394125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C92E3C-2953-FA94-53FC-79189276A250}"/>
              </a:ext>
            </a:extLst>
          </p:cNvPr>
          <p:cNvSpPr/>
          <p:nvPr/>
        </p:nvSpPr>
        <p:spPr>
          <a:xfrm>
            <a:off x="7522554" y="5691131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D1E0BAE-A478-BDDB-F9B1-8B214EAD4E36}"/>
              </a:ext>
            </a:extLst>
          </p:cNvPr>
          <p:cNvSpPr/>
          <p:nvPr/>
        </p:nvSpPr>
        <p:spPr>
          <a:xfrm>
            <a:off x="7522554" y="5988137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BF932BD-868C-C097-2795-4EE2384292D2}"/>
              </a:ext>
            </a:extLst>
          </p:cNvPr>
          <p:cNvSpPr/>
          <p:nvPr/>
        </p:nvSpPr>
        <p:spPr>
          <a:xfrm>
            <a:off x="5992518" y="4825306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5662B6B-2D34-C4D1-DFA2-DF06050C71A6}"/>
              </a:ext>
            </a:extLst>
          </p:cNvPr>
          <p:cNvSpPr/>
          <p:nvPr/>
        </p:nvSpPr>
        <p:spPr>
          <a:xfrm>
            <a:off x="5992518" y="5122312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51F14CE-C89A-2076-DF5C-FD0E10BF121D}"/>
              </a:ext>
            </a:extLst>
          </p:cNvPr>
          <p:cNvSpPr/>
          <p:nvPr/>
        </p:nvSpPr>
        <p:spPr>
          <a:xfrm>
            <a:off x="5992518" y="5419318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905A30F-13DE-667A-C090-0E8E0A2237F5}"/>
              </a:ext>
            </a:extLst>
          </p:cNvPr>
          <p:cNvSpPr/>
          <p:nvPr/>
        </p:nvSpPr>
        <p:spPr>
          <a:xfrm>
            <a:off x="5992518" y="5716324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4381F97-E6C3-5B27-3F9F-58D3EF1CCDCA}"/>
              </a:ext>
            </a:extLst>
          </p:cNvPr>
          <p:cNvSpPr/>
          <p:nvPr/>
        </p:nvSpPr>
        <p:spPr>
          <a:xfrm>
            <a:off x="5992518" y="6013330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36704D-D378-DF6E-BF18-221697DBA09E}"/>
              </a:ext>
            </a:extLst>
          </p:cNvPr>
          <p:cNvSpPr/>
          <p:nvPr/>
        </p:nvSpPr>
        <p:spPr>
          <a:xfrm>
            <a:off x="9115964" y="4825306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021BF9D-6AB3-1BE7-024E-A0B72E8725CD}"/>
              </a:ext>
            </a:extLst>
          </p:cNvPr>
          <p:cNvSpPr/>
          <p:nvPr/>
        </p:nvSpPr>
        <p:spPr>
          <a:xfrm>
            <a:off x="9115964" y="5122312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477E9CE-29A7-8541-C05F-449A730EB13F}"/>
              </a:ext>
            </a:extLst>
          </p:cNvPr>
          <p:cNvSpPr/>
          <p:nvPr/>
        </p:nvSpPr>
        <p:spPr>
          <a:xfrm>
            <a:off x="9115964" y="5419318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…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13BA797-9D37-A1BB-B600-23425BFC33D1}"/>
              </a:ext>
            </a:extLst>
          </p:cNvPr>
          <p:cNvSpPr/>
          <p:nvPr/>
        </p:nvSpPr>
        <p:spPr>
          <a:xfrm>
            <a:off x="9115964" y="5716324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D162BAC-AD01-8697-D6B8-3C2046E00F26}"/>
              </a:ext>
            </a:extLst>
          </p:cNvPr>
          <p:cNvSpPr/>
          <p:nvPr/>
        </p:nvSpPr>
        <p:spPr>
          <a:xfrm>
            <a:off x="9115964" y="6013330"/>
            <a:ext cx="943897" cy="2761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24753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35150-B439-1877-F1A5-1A8A8EAA3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urrent Neural Networks (RNN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91FCD02-0036-1274-955E-A57F7F79C991}"/>
              </a:ext>
            </a:extLst>
          </p:cNvPr>
          <p:cNvSpPr/>
          <p:nvPr/>
        </p:nvSpPr>
        <p:spPr>
          <a:xfrm>
            <a:off x="3204926" y="3286406"/>
            <a:ext cx="548640" cy="5486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NN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8B431C9-7610-BAA6-EA34-C176146A1910}"/>
              </a:ext>
            </a:extLst>
          </p:cNvPr>
          <p:cNvSpPr/>
          <p:nvPr/>
        </p:nvSpPr>
        <p:spPr>
          <a:xfrm>
            <a:off x="4336609" y="3286406"/>
            <a:ext cx="548640" cy="5486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N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15FF754-17E4-03B8-993E-3553EC0AC35E}"/>
              </a:ext>
            </a:extLst>
          </p:cNvPr>
          <p:cNvSpPr/>
          <p:nvPr/>
        </p:nvSpPr>
        <p:spPr>
          <a:xfrm>
            <a:off x="5461954" y="3286406"/>
            <a:ext cx="548640" cy="5486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NN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6BE3D18-B3C7-A3A0-4495-DC9D03E762BC}"/>
              </a:ext>
            </a:extLst>
          </p:cNvPr>
          <p:cNvSpPr/>
          <p:nvPr/>
        </p:nvSpPr>
        <p:spPr>
          <a:xfrm>
            <a:off x="8440544" y="3286406"/>
            <a:ext cx="548640" cy="54864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N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C30158F-EF64-39B2-463B-1FEEDDFDC47E}"/>
              </a:ext>
            </a:extLst>
          </p:cNvPr>
          <p:cNvSpPr/>
          <p:nvPr/>
        </p:nvSpPr>
        <p:spPr>
          <a:xfrm>
            <a:off x="1838306" y="3240686"/>
            <a:ext cx="640080" cy="64008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State &lt;0&gt;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0457F97-BD6A-4E0B-64F3-AB7B129207C7}"/>
              </a:ext>
            </a:extLst>
          </p:cNvPr>
          <p:cNvCxnSpPr>
            <a:stCxn id="8" idx="6"/>
            <a:endCxn id="4" idx="2"/>
          </p:cNvCxnSpPr>
          <p:nvPr/>
        </p:nvCxnSpPr>
        <p:spPr>
          <a:xfrm>
            <a:off x="2478386" y="3560726"/>
            <a:ext cx="7265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26FA110-AA54-0968-12BF-FC29651B187B}"/>
              </a:ext>
            </a:extLst>
          </p:cNvPr>
          <p:cNvCxnSpPr>
            <a:stCxn id="4" idx="6"/>
            <a:endCxn id="5" idx="2"/>
          </p:cNvCxnSpPr>
          <p:nvPr/>
        </p:nvCxnSpPr>
        <p:spPr>
          <a:xfrm>
            <a:off x="3753566" y="3560726"/>
            <a:ext cx="58304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85A3BE5-3E5E-0077-E2E5-EA779EEA0901}"/>
              </a:ext>
            </a:extLst>
          </p:cNvPr>
          <p:cNvCxnSpPr>
            <a:cxnSpLocks/>
            <a:stCxn id="5" idx="6"/>
            <a:endCxn id="6" idx="2"/>
          </p:cNvCxnSpPr>
          <p:nvPr/>
        </p:nvCxnSpPr>
        <p:spPr>
          <a:xfrm>
            <a:off x="4885249" y="3560726"/>
            <a:ext cx="5767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049858A-7A18-A88C-186E-C7B0559B4749}"/>
              </a:ext>
            </a:extLst>
          </p:cNvPr>
          <p:cNvCxnSpPr>
            <a:stCxn id="6" idx="6"/>
          </p:cNvCxnSpPr>
          <p:nvPr/>
        </p:nvCxnSpPr>
        <p:spPr>
          <a:xfrm>
            <a:off x="6010594" y="3560726"/>
            <a:ext cx="4264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393D1C2-A6D0-ED73-94A1-E7868FC19918}"/>
              </a:ext>
            </a:extLst>
          </p:cNvPr>
          <p:cNvCxnSpPr/>
          <p:nvPr/>
        </p:nvCxnSpPr>
        <p:spPr>
          <a:xfrm>
            <a:off x="8014124" y="3534771"/>
            <a:ext cx="4264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8B289E5-23F4-21B6-8DD1-85F5DD84FAA0}"/>
              </a:ext>
            </a:extLst>
          </p:cNvPr>
          <p:cNvSpPr/>
          <p:nvPr/>
        </p:nvSpPr>
        <p:spPr>
          <a:xfrm>
            <a:off x="3173239" y="4354717"/>
            <a:ext cx="612014" cy="44361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DCF81D-0196-AB91-1C2E-9D7508203539}"/>
              </a:ext>
            </a:extLst>
          </p:cNvPr>
          <p:cNvSpPr/>
          <p:nvPr/>
        </p:nvSpPr>
        <p:spPr>
          <a:xfrm>
            <a:off x="3177388" y="2324948"/>
            <a:ext cx="612014" cy="44361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035ECB-9F50-7F5E-0B70-5B16BBD6A9B2}"/>
              </a:ext>
            </a:extLst>
          </p:cNvPr>
          <p:cNvSpPr/>
          <p:nvPr/>
        </p:nvSpPr>
        <p:spPr>
          <a:xfrm>
            <a:off x="4304922" y="4354717"/>
            <a:ext cx="612014" cy="44361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7226CD-8B0E-9A1D-FAEE-2A772B52E2F8}"/>
              </a:ext>
            </a:extLst>
          </p:cNvPr>
          <p:cNvSpPr/>
          <p:nvPr/>
        </p:nvSpPr>
        <p:spPr>
          <a:xfrm>
            <a:off x="5436605" y="4372818"/>
            <a:ext cx="612014" cy="44361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95B136D-F918-AE6D-8CC3-5CD678A49332}"/>
              </a:ext>
            </a:extLst>
          </p:cNvPr>
          <p:cNvSpPr/>
          <p:nvPr/>
        </p:nvSpPr>
        <p:spPr>
          <a:xfrm>
            <a:off x="8408857" y="4354717"/>
            <a:ext cx="612014" cy="44361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B29BFD0-31C4-D04E-681D-0E5C11AA9345}"/>
              </a:ext>
            </a:extLst>
          </p:cNvPr>
          <p:cNvSpPr/>
          <p:nvPr/>
        </p:nvSpPr>
        <p:spPr>
          <a:xfrm>
            <a:off x="4304922" y="2324948"/>
            <a:ext cx="612014" cy="44361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9480CA7-564F-4029-C7BA-8EA8ADAA0B6A}"/>
              </a:ext>
            </a:extLst>
          </p:cNvPr>
          <p:cNvSpPr/>
          <p:nvPr/>
        </p:nvSpPr>
        <p:spPr>
          <a:xfrm>
            <a:off x="5436605" y="2324948"/>
            <a:ext cx="612014" cy="44361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AB9160-11C1-13ED-994B-77E1310A971D}"/>
              </a:ext>
            </a:extLst>
          </p:cNvPr>
          <p:cNvSpPr/>
          <p:nvPr/>
        </p:nvSpPr>
        <p:spPr>
          <a:xfrm>
            <a:off x="8408857" y="2288826"/>
            <a:ext cx="612014" cy="44361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N</a:t>
            </a:r>
          </a:p>
        </p:txBody>
      </p:sp>
      <p:sp>
        <p:nvSpPr>
          <p:cNvPr id="28" name="Left Brace 27">
            <a:extLst>
              <a:ext uri="{FF2B5EF4-FFF2-40B4-BE49-F238E27FC236}">
                <a16:creationId xmlns:a16="http://schemas.microsoft.com/office/drawing/2014/main" id="{C8EA8CB6-09AF-BAFC-A615-65DB2A24CAA9}"/>
              </a:ext>
            </a:extLst>
          </p:cNvPr>
          <p:cNvSpPr/>
          <p:nvPr/>
        </p:nvSpPr>
        <p:spPr>
          <a:xfrm rot="16200000">
            <a:off x="2706759" y="4232265"/>
            <a:ext cx="217284" cy="1954189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9" name="Left Brace 28">
            <a:extLst>
              <a:ext uri="{FF2B5EF4-FFF2-40B4-BE49-F238E27FC236}">
                <a16:creationId xmlns:a16="http://schemas.microsoft.com/office/drawing/2014/main" id="{5441B888-1EE1-4BBF-0CA8-A6D473FEF2FF}"/>
              </a:ext>
            </a:extLst>
          </p:cNvPr>
          <p:cNvSpPr/>
          <p:nvPr/>
        </p:nvSpPr>
        <p:spPr>
          <a:xfrm rot="16200000">
            <a:off x="4383453" y="4568142"/>
            <a:ext cx="217284" cy="1282435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0" name="Left Brace 29">
            <a:extLst>
              <a:ext uri="{FF2B5EF4-FFF2-40B4-BE49-F238E27FC236}">
                <a16:creationId xmlns:a16="http://schemas.microsoft.com/office/drawing/2014/main" id="{0CC6F3AB-0CF8-61AD-BABB-8D6454D7683E}"/>
              </a:ext>
            </a:extLst>
          </p:cNvPr>
          <p:cNvSpPr/>
          <p:nvPr/>
        </p:nvSpPr>
        <p:spPr>
          <a:xfrm rot="16200000">
            <a:off x="5727215" y="4568141"/>
            <a:ext cx="217284" cy="1282435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1" name="Left Brace 30">
            <a:extLst>
              <a:ext uri="{FF2B5EF4-FFF2-40B4-BE49-F238E27FC236}">
                <a16:creationId xmlns:a16="http://schemas.microsoft.com/office/drawing/2014/main" id="{B57D5A62-E485-1F21-9B55-152F8E95D3C5}"/>
              </a:ext>
            </a:extLst>
          </p:cNvPr>
          <p:cNvSpPr/>
          <p:nvPr/>
        </p:nvSpPr>
        <p:spPr>
          <a:xfrm rot="16200000">
            <a:off x="8290864" y="4562703"/>
            <a:ext cx="217284" cy="1282435"/>
          </a:xfrm>
          <a:prstGeom prst="leftBrac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8712F49B-00BD-D1F4-B0A8-83310D3339E5}"/>
              </a:ext>
            </a:extLst>
          </p:cNvPr>
          <p:cNvCxnSpPr>
            <a:stCxn id="19" idx="0"/>
            <a:endCxn id="4" idx="4"/>
          </p:cNvCxnSpPr>
          <p:nvPr/>
        </p:nvCxnSpPr>
        <p:spPr>
          <a:xfrm flipV="1">
            <a:off x="3479246" y="3835046"/>
            <a:ext cx="0" cy="51967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4AE915B-739B-CBD3-49F9-F37ED7062472}"/>
              </a:ext>
            </a:extLst>
          </p:cNvPr>
          <p:cNvCxnSpPr>
            <a:stCxn id="4" idx="0"/>
            <a:endCxn id="20" idx="2"/>
          </p:cNvCxnSpPr>
          <p:nvPr/>
        </p:nvCxnSpPr>
        <p:spPr>
          <a:xfrm flipV="1">
            <a:off x="3479246" y="2768562"/>
            <a:ext cx="4149" cy="517844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EFFC1CD-5F09-AB4A-AC49-6C142F39828F}"/>
              </a:ext>
            </a:extLst>
          </p:cNvPr>
          <p:cNvCxnSpPr/>
          <p:nvPr/>
        </p:nvCxnSpPr>
        <p:spPr>
          <a:xfrm flipV="1">
            <a:off x="4608854" y="2763257"/>
            <a:ext cx="4149" cy="517844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D840AF7-62DF-70D1-FD46-312B4C1D2A33}"/>
              </a:ext>
            </a:extLst>
          </p:cNvPr>
          <p:cNvCxnSpPr/>
          <p:nvPr/>
        </p:nvCxnSpPr>
        <p:spPr>
          <a:xfrm flipV="1">
            <a:off x="5738463" y="2763257"/>
            <a:ext cx="4149" cy="517844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604D6B3-3823-2472-22E8-4C4BB933B33A}"/>
              </a:ext>
            </a:extLst>
          </p:cNvPr>
          <p:cNvCxnSpPr/>
          <p:nvPr/>
        </p:nvCxnSpPr>
        <p:spPr>
          <a:xfrm flipV="1">
            <a:off x="4608854" y="3835046"/>
            <a:ext cx="0" cy="51967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FCEEBA7-9A4A-433D-AB2A-97839C3D642F}"/>
              </a:ext>
            </a:extLst>
          </p:cNvPr>
          <p:cNvCxnSpPr/>
          <p:nvPr/>
        </p:nvCxnSpPr>
        <p:spPr>
          <a:xfrm flipV="1">
            <a:off x="5736274" y="3835046"/>
            <a:ext cx="0" cy="51967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F16B84A9-5F91-4056-A354-8BD8A6704FFC}"/>
              </a:ext>
            </a:extLst>
          </p:cNvPr>
          <p:cNvCxnSpPr/>
          <p:nvPr/>
        </p:nvCxnSpPr>
        <p:spPr>
          <a:xfrm flipV="1">
            <a:off x="8714864" y="3835045"/>
            <a:ext cx="0" cy="51967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AA1DC5A-67C7-4102-2A25-24F00F67187E}"/>
              </a:ext>
            </a:extLst>
          </p:cNvPr>
          <p:cNvCxnSpPr/>
          <p:nvPr/>
        </p:nvCxnSpPr>
        <p:spPr>
          <a:xfrm flipV="1">
            <a:off x="8720294" y="2750501"/>
            <a:ext cx="4149" cy="517844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EE3670CA-B9B2-5419-EB71-BED53C25F7F4}"/>
              </a:ext>
            </a:extLst>
          </p:cNvPr>
          <p:cNvSpPr txBox="1"/>
          <p:nvPr/>
        </p:nvSpPr>
        <p:spPr>
          <a:xfrm>
            <a:off x="2158346" y="5375036"/>
            <a:ext cx="1285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ime step 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02F52D2-FCFB-C619-7C25-9AABDE7D1CB8}"/>
              </a:ext>
            </a:extLst>
          </p:cNvPr>
          <p:cNvSpPr txBox="1"/>
          <p:nvPr/>
        </p:nvSpPr>
        <p:spPr>
          <a:xfrm>
            <a:off x="3792496" y="5375036"/>
            <a:ext cx="1285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ime step 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94AC4D-BFC2-DE31-D8F9-6B263794DDB3}"/>
              </a:ext>
            </a:extLst>
          </p:cNvPr>
          <p:cNvSpPr txBox="1"/>
          <p:nvPr/>
        </p:nvSpPr>
        <p:spPr>
          <a:xfrm>
            <a:off x="5133313" y="5375036"/>
            <a:ext cx="1285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ime step 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501F634-1B19-AA3D-6B72-0BC26FFE97ED}"/>
              </a:ext>
            </a:extLst>
          </p:cNvPr>
          <p:cNvSpPr txBox="1"/>
          <p:nvPr/>
        </p:nvSpPr>
        <p:spPr>
          <a:xfrm>
            <a:off x="7713938" y="5375036"/>
            <a:ext cx="1502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ime step N</a:t>
            </a:r>
          </a:p>
        </p:txBody>
      </p:sp>
    </p:spTree>
    <p:extLst>
      <p:ext uri="{BB962C8B-B14F-4D97-AF65-F5344CB8AC3E}">
        <p14:creationId xmlns:p14="http://schemas.microsoft.com/office/powerpoint/2010/main" val="568338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1F5BB-AA2B-731B-AB96-9C026A955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with RNN (among other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9BC16C-F8C4-2BFD-EE32-B8CB5ED108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low computation for long sequences</a:t>
            </a:r>
          </a:p>
          <a:p>
            <a:r>
              <a:rPr lang="en-US" dirty="0"/>
              <a:t>Vanishing or exploding gradients</a:t>
            </a:r>
          </a:p>
          <a:p>
            <a:r>
              <a:rPr lang="en-US" dirty="0"/>
              <a:t>Difficulty in accessing information from long time ago</a:t>
            </a:r>
          </a:p>
        </p:txBody>
      </p:sp>
    </p:spTree>
    <p:extLst>
      <p:ext uri="{BB962C8B-B14F-4D97-AF65-F5344CB8AC3E}">
        <p14:creationId xmlns:p14="http://schemas.microsoft.com/office/powerpoint/2010/main" val="6513479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D5030-14EE-D191-9473-6352474D7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Introducing the Transform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C8F99C-D5D1-3551-60F6-2BF395FAC6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0396" y="1825625"/>
            <a:ext cx="3111207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45448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E0055-E5AB-05D9-E4CF-83D2423B5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19E2AC-C3E1-DA6B-DD7B-47C0306EEF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put matrix (sequence, </a:t>
            </a:r>
            <a:r>
              <a:rPr lang="en-US" dirty="0" err="1"/>
              <a:t>dmodel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95110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7F218-671E-A318-FACE-285D0805D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Encoder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5AFDB04-4731-5DB9-7B80-3B947DB40E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n-US" dirty="0"/>
              <a:t>Embedd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777C42-A6C5-06C2-7B7E-CFD37BFA88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5760" y="1825625"/>
            <a:ext cx="2674480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461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A10ED-FEB0-8717-B707-EBD4819F0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n input embedding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F07BBF-61F3-59C3-51E9-DC6B4FC05BC4}"/>
              </a:ext>
            </a:extLst>
          </p:cNvPr>
          <p:cNvSpPr/>
          <p:nvPr/>
        </p:nvSpPr>
        <p:spPr>
          <a:xfrm>
            <a:off x="2055039" y="2078793"/>
            <a:ext cx="943897" cy="37362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D49A786-640E-07A6-4213-1153BC6BD540}"/>
              </a:ext>
            </a:extLst>
          </p:cNvPr>
          <p:cNvSpPr/>
          <p:nvPr/>
        </p:nvSpPr>
        <p:spPr>
          <a:xfrm>
            <a:off x="3585075" y="2068669"/>
            <a:ext cx="943897" cy="37362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6B0B3C-71A6-3EA4-3003-CEC158428599}"/>
              </a:ext>
            </a:extLst>
          </p:cNvPr>
          <p:cNvSpPr/>
          <p:nvPr/>
        </p:nvSpPr>
        <p:spPr>
          <a:xfrm>
            <a:off x="5178485" y="2078793"/>
            <a:ext cx="943897" cy="37362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D8BE47-3CC6-98ED-D61B-C3200FF3B970}"/>
              </a:ext>
            </a:extLst>
          </p:cNvPr>
          <p:cNvSpPr/>
          <p:nvPr/>
        </p:nvSpPr>
        <p:spPr>
          <a:xfrm>
            <a:off x="6771895" y="2078793"/>
            <a:ext cx="943897" cy="37362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6EF64A-AE10-D45C-0FEE-0273EC439F24}"/>
              </a:ext>
            </a:extLst>
          </p:cNvPr>
          <p:cNvSpPr/>
          <p:nvPr/>
        </p:nvSpPr>
        <p:spPr>
          <a:xfrm>
            <a:off x="8505000" y="2085705"/>
            <a:ext cx="943897" cy="37362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e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973556-C2A6-3680-6F80-E35071F22593}"/>
              </a:ext>
            </a:extLst>
          </p:cNvPr>
          <p:cNvSpPr/>
          <p:nvPr/>
        </p:nvSpPr>
        <p:spPr>
          <a:xfrm>
            <a:off x="2055039" y="2864472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06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B60C96-0622-E66D-D202-FA0A81522C76}"/>
              </a:ext>
            </a:extLst>
          </p:cNvPr>
          <p:cNvSpPr/>
          <p:nvPr/>
        </p:nvSpPr>
        <p:spPr>
          <a:xfrm>
            <a:off x="3585075" y="2854348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15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C0547E-AEE2-C54D-15C8-DB5B488A104E}"/>
              </a:ext>
            </a:extLst>
          </p:cNvPr>
          <p:cNvSpPr/>
          <p:nvPr/>
        </p:nvSpPr>
        <p:spPr>
          <a:xfrm>
            <a:off x="5178485" y="2864472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68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135E93-BA64-E0A8-641D-A5517E9D1F3B}"/>
              </a:ext>
            </a:extLst>
          </p:cNvPr>
          <p:cNvSpPr/>
          <p:nvPr/>
        </p:nvSpPr>
        <p:spPr>
          <a:xfrm>
            <a:off x="6771895" y="2864472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5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69F08E-441D-3787-C635-4A9830C1FD2D}"/>
              </a:ext>
            </a:extLst>
          </p:cNvPr>
          <p:cNvSpPr/>
          <p:nvPr/>
        </p:nvSpPr>
        <p:spPr>
          <a:xfrm>
            <a:off x="8505000" y="2871384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82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AF6B2F6-DE80-3389-9471-295B7D93FCEA}"/>
              </a:ext>
            </a:extLst>
          </p:cNvPr>
          <p:cNvSpPr/>
          <p:nvPr/>
        </p:nvSpPr>
        <p:spPr>
          <a:xfrm>
            <a:off x="2055039" y="3634967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64.278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6C26FC4-2CF7-834F-457A-A22B5776BCA2}"/>
              </a:ext>
            </a:extLst>
          </p:cNvPr>
          <p:cNvSpPr/>
          <p:nvPr/>
        </p:nvSpPr>
        <p:spPr>
          <a:xfrm>
            <a:off x="10098410" y="2066577"/>
            <a:ext cx="943897" cy="37362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a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B214B1-45F6-02F2-7C24-E7AB12E2EFB4}"/>
              </a:ext>
            </a:extLst>
          </p:cNvPr>
          <p:cNvSpPr/>
          <p:nvPr/>
        </p:nvSpPr>
        <p:spPr>
          <a:xfrm>
            <a:off x="10098410" y="2852256"/>
            <a:ext cx="943897" cy="37362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154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7FE1EF7-7462-9ED0-3A12-02752AFF55E3}"/>
              </a:ext>
            </a:extLst>
          </p:cNvPr>
          <p:cNvSpPr/>
          <p:nvPr/>
        </p:nvSpPr>
        <p:spPr>
          <a:xfrm>
            <a:off x="3585075" y="3630027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23.4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7378F16-9FDC-C482-92AC-8B8D119375E3}"/>
              </a:ext>
            </a:extLst>
          </p:cNvPr>
          <p:cNvSpPr/>
          <p:nvPr/>
        </p:nvSpPr>
        <p:spPr>
          <a:xfrm>
            <a:off x="5178484" y="3630027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52.716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670FA5-4A3F-A735-5E72-D733BA0328E1}"/>
              </a:ext>
            </a:extLst>
          </p:cNvPr>
          <p:cNvSpPr/>
          <p:nvPr/>
        </p:nvSpPr>
        <p:spPr>
          <a:xfrm>
            <a:off x="6771895" y="3619903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7745.98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F4E68CF-53FE-BAFB-991A-79A53A56B648}"/>
              </a:ext>
            </a:extLst>
          </p:cNvPr>
          <p:cNvSpPr/>
          <p:nvPr/>
        </p:nvSpPr>
        <p:spPr>
          <a:xfrm>
            <a:off x="8505000" y="3630027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941.625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DF1B3C4-BC1E-FC62-3B41-2319B0A29B24}"/>
              </a:ext>
            </a:extLst>
          </p:cNvPr>
          <p:cNvSpPr/>
          <p:nvPr/>
        </p:nvSpPr>
        <p:spPr>
          <a:xfrm>
            <a:off x="2055039" y="3931973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631.65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5C9C752-1E19-575F-F66F-D6748204F160}"/>
              </a:ext>
            </a:extLst>
          </p:cNvPr>
          <p:cNvSpPr/>
          <p:nvPr/>
        </p:nvSpPr>
        <p:spPr>
          <a:xfrm>
            <a:off x="3585075" y="3927033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265.14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01F25AE-72EC-9921-9FB2-F8AD0A373100}"/>
              </a:ext>
            </a:extLst>
          </p:cNvPr>
          <p:cNvSpPr/>
          <p:nvPr/>
        </p:nvSpPr>
        <p:spPr>
          <a:xfrm>
            <a:off x="5178484" y="3927033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6234.62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FDA631-A2EB-25CE-612C-B8CC45EA0F13}"/>
              </a:ext>
            </a:extLst>
          </p:cNvPr>
          <p:cNvSpPr/>
          <p:nvPr/>
        </p:nvSpPr>
        <p:spPr>
          <a:xfrm>
            <a:off x="6771895" y="3916909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314.12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37BAF7-2298-071B-9EE7-1B0A0F6BD18F}"/>
              </a:ext>
            </a:extLst>
          </p:cNvPr>
          <p:cNvSpPr/>
          <p:nvPr/>
        </p:nvSpPr>
        <p:spPr>
          <a:xfrm>
            <a:off x="8505000" y="3927033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6394.53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834FA2D-CD57-6E4A-79EC-7BDE68C628BE}"/>
              </a:ext>
            </a:extLst>
          </p:cNvPr>
          <p:cNvSpPr/>
          <p:nvPr/>
        </p:nvSpPr>
        <p:spPr>
          <a:xfrm>
            <a:off x="2055039" y="4228979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…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D8FD304-CF1D-4C45-CD28-3AA478ADD7D1}"/>
              </a:ext>
            </a:extLst>
          </p:cNvPr>
          <p:cNvSpPr/>
          <p:nvPr/>
        </p:nvSpPr>
        <p:spPr>
          <a:xfrm>
            <a:off x="3585075" y="4224039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…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3BC95A-0006-C9FA-BB47-8A6C29873BFB}"/>
              </a:ext>
            </a:extLst>
          </p:cNvPr>
          <p:cNvSpPr/>
          <p:nvPr/>
        </p:nvSpPr>
        <p:spPr>
          <a:xfrm>
            <a:off x="5186029" y="421391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…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9A7906-7524-A199-F374-A163F5DBBE73}"/>
              </a:ext>
            </a:extLst>
          </p:cNvPr>
          <p:cNvSpPr/>
          <p:nvPr/>
        </p:nvSpPr>
        <p:spPr>
          <a:xfrm>
            <a:off x="6771895" y="421391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…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15B7F84-EDA2-AC67-BC80-1BD13E1C42D4}"/>
              </a:ext>
            </a:extLst>
          </p:cNvPr>
          <p:cNvSpPr/>
          <p:nvPr/>
        </p:nvSpPr>
        <p:spPr>
          <a:xfrm>
            <a:off x="8505000" y="4224039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…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55D5698-9835-A30B-D97B-EC2361D9E785}"/>
              </a:ext>
            </a:extLst>
          </p:cNvPr>
          <p:cNvSpPr/>
          <p:nvPr/>
        </p:nvSpPr>
        <p:spPr>
          <a:xfrm>
            <a:off x="2055039" y="452598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41.46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186C4CB-B25A-E0B5-BDE9-414BD85FFD3B}"/>
              </a:ext>
            </a:extLst>
          </p:cNvPr>
          <p:cNvSpPr/>
          <p:nvPr/>
        </p:nvSpPr>
        <p:spPr>
          <a:xfrm>
            <a:off x="3585075" y="452104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189.25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9C628E3-4D17-BEB8-23CD-8CBC07D9A5F1}"/>
              </a:ext>
            </a:extLst>
          </p:cNvPr>
          <p:cNvSpPr/>
          <p:nvPr/>
        </p:nvSpPr>
        <p:spPr>
          <a:xfrm>
            <a:off x="5178484" y="452104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12.41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F8567D8-4A35-85BC-E392-25AFC83684F9}"/>
              </a:ext>
            </a:extLst>
          </p:cNvPr>
          <p:cNvSpPr/>
          <p:nvPr/>
        </p:nvSpPr>
        <p:spPr>
          <a:xfrm>
            <a:off x="6771895" y="4510921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65.76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22344F9-3CDA-D49B-3A56-FDB69BBC36EC}"/>
              </a:ext>
            </a:extLst>
          </p:cNvPr>
          <p:cNvSpPr/>
          <p:nvPr/>
        </p:nvSpPr>
        <p:spPr>
          <a:xfrm>
            <a:off x="8505000" y="452104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452.945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D031D5-0433-A85E-3F18-ABE5909074D0}"/>
              </a:ext>
            </a:extLst>
          </p:cNvPr>
          <p:cNvSpPr/>
          <p:nvPr/>
        </p:nvSpPr>
        <p:spPr>
          <a:xfrm>
            <a:off x="2055039" y="4822991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.42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411377A-2856-67A7-C3EB-AEDB99E13EF4}"/>
              </a:ext>
            </a:extLst>
          </p:cNvPr>
          <p:cNvSpPr/>
          <p:nvPr/>
        </p:nvSpPr>
        <p:spPr>
          <a:xfrm>
            <a:off x="3585075" y="4818051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6.4165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34E3CFC-3A1D-441E-4A83-727B7C908118}"/>
              </a:ext>
            </a:extLst>
          </p:cNvPr>
          <p:cNvSpPr/>
          <p:nvPr/>
        </p:nvSpPr>
        <p:spPr>
          <a:xfrm>
            <a:off x="5178484" y="4818051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794.127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31E07C1-B467-8BF2-6CD9-47B9C4185389}"/>
              </a:ext>
            </a:extLst>
          </p:cNvPr>
          <p:cNvSpPr/>
          <p:nvPr/>
        </p:nvSpPr>
        <p:spPr>
          <a:xfrm>
            <a:off x="6771895" y="4807927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543.345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08222D8-C1B1-8CC0-5193-A74BAFD14BC0}"/>
              </a:ext>
            </a:extLst>
          </p:cNvPr>
          <p:cNvSpPr/>
          <p:nvPr/>
        </p:nvSpPr>
        <p:spPr>
          <a:xfrm>
            <a:off x="8508652" y="4818051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643.166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D6970C5-322E-7B40-1873-C0920723303D}"/>
              </a:ext>
            </a:extLst>
          </p:cNvPr>
          <p:cNvCxnSpPr>
            <a:stCxn id="4" idx="2"/>
            <a:endCxn id="10" idx="0"/>
          </p:cNvCxnSpPr>
          <p:nvPr/>
        </p:nvCxnSpPr>
        <p:spPr>
          <a:xfrm>
            <a:off x="2526988" y="2452419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8520932-D169-367D-6A84-281B0831C378}"/>
              </a:ext>
            </a:extLst>
          </p:cNvPr>
          <p:cNvCxnSpPr/>
          <p:nvPr/>
        </p:nvCxnSpPr>
        <p:spPr>
          <a:xfrm>
            <a:off x="5657978" y="2459331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BF093A8D-160B-0673-885A-2A1409CFF7D2}"/>
              </a:ext>
            </a:extLst>
          </p:cNvPr>
          <p:cNvCxnSpPr/>
          <p:nvPr/>
        </p:nvCxnSpPr>
        <p:spPr>
          <a:xfrm>
            <a:off x="4046462" y="2459331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4EA13FB-2B83-8F99-8E04-2EC166D7F109}"/>
              </a:ext>
            </a:extLst>
          </p:cNvPr>
          <p:cNvCxnSpPr/>
          <p:nvPr/>
        </p:nvCxnSpPr>
        <p:spPr>
          <a:xfrm>
            <a:off x="7233282" y="2452419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8A0FC32-E075-7ADF-C057-577590902117}"/>
              </a:ext>
            </a:extLst>
          </p:cNvPr>
          <p:cNvCxnSpPr/>
          <p:nvPr/>
        </p:nvCxnSpPr>
        <p:spPr>
          <a:xfrm>
            <a:off x="8980601" y="2459331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4A6ECA85-064F-68BD-3F5B-DE81CD44131B}"/>
              </a:ext>
            </a:extLst>
          </p:cNvPr>
          <p:cNvCxnSpPr/>
          <p:nvPr/>
        </p:nvCxnSpPr>
        <p:spPr>
          <a:xfrm>
            <a:off x="10564958" y="2440203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9F3ADAD-68C5-BAF5-5CE1-398FDCE8F3CB}"/>
              </a:ext>
            </a:extLst>
          </p:cNvPr>
          <p:cNvCxnSpPr/>
          <p:nvPr/>
        </p:nvCxnSpPr>
        <p:spPr>
          <a:xfrm>
            <a:off x="2526988" y="3225882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455778D1-DBF7-906B-81FF-F852AA57CEB3}"/>
              </a:ext>
            </a:extLst>
          </p:cNvPr>
          <p:cNvCxnSpPr/>
          <p:nvPr/>
        </p:nvCxnSpPr>
        <p:spPr>
          <a:xfrm>
            <a:off x="5657978" y="3232794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6EA8FB07-66DA-519F-CB8E-759E87615B31}"/>
              </a:ext>
            </a:extLst>
          </p:cNvPr>
          <p:cNvCxnSpPr/>
          <p:nvPr/>
        </p:nvCxnSpPr>
        <p:spPr>
          <a:xfrm>
            <a:off x="4046462" y="3232794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A2CF9D9D-21B9-78ED-4688-0BE12481716D}"/>
              </a:ext>
            </a:extLst>
          </p:cNvPr>
          <p:cNvCxnSpPr/>
          <p:nvPr/>
        </p:nvCxnSpPr>
        <p:spPr>
          <a:xfrm>
            <a:off x="7233282" y="3225882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9FBC18CD-D1FC-76CB-EFC6-947F2AA94D86}"/>
              </a:ext>
            </a:extLst>
          </p:cNvPr>
          <p:cNvCxnSpPr/>
          <p:nvPr/>
        </p:nvCxnSpPr>
        <p:spPr>
          <a:xfrm>
            <a:off x="8980601" y="3232794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835BA3B0-E1A5-224E-2F6A-C8CB3D55E1F6}"/>
              </a:ext>
            </a:extLst>
          </p:cNvPr>
          <p:cNvCxnSpPr/>
          <p:nvPr/>
        </p:nvCxnSpPr>
        <p:spPr>
          <a:xfrm>
            <a:off x="10564958" y="3213666"/>
            <a:ext cx="0" cy="4120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51C6E3E1-2D4F-E627-48C6-28590140DE2F}"/>
              </a:ext>
            </a:extLst>
          </p:cNvPr>
          <p:cNvSpPr txBox="1"/>
          <p:nvPr/>
        </p:nvSpPr>
        <p:spPr>
          <a:xfrm>
            <a:off x="280657" y="2085705"/>
            <a:ext cx="1291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riginal sentence</a:t>
            </a:r>
          </a:p>
          <a:p>
            <a:r>
              <a:rPr lang="en-US" sz="1200" dirty="0"/>
              <a:t>(token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1AF051D-D57C-3C5F-F156-1779B507D056}"/>
              </a:ext>
            </a:extLst>
          </p:cNvPr>
          <p:cNvSpPr txBox="1"/>
          <p:nvPr/>
        </p:nvSpPr>
        <p:spPr>
          <a:xfrm>
            <a:off x="280657" y="2881891"/>
            <a:ext cx="1291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Input IDs</a:t>
            </a:r>
          </a:p>
          <a:p>
            <a:r>
              <a:rPr lang="en-US" sz="1200" dirty="0"/>
              <a:t>(position in the vocabulary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655EBFA-C679-6F63-39B5-451CF7BD8FF7}"/>
              </a:ext>
            </a:extLst>
          </p:cNvPr>
          <p:cNvSpPr txBox="1"/>
          <p:nvPr/>
        </p:nvSpPr>
        <p:spPr>
          <a:xfrm>
            <a:off x="279002" y="4050034"/>
            <a:ext cx="1291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mbedding</a:t>
            </a:r>
          </a:p>
          <a:p>
            <a:r>
              <a:rPr lang="en-US" sz="1200" dirty="0"/>
              <a:t>(vector of size 512)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B3E4E31-ADCB-5272-096D-6E3349A60928}"/>
              </a:ext>
            </a:extLst>
          </p:cNvPr>
          <p:cNvSpPr/>
          <p:nvPr/>
        </p:nvSpPr>
        <p:spPr>
          <a:xfrm>
            <a:off x="10090086" y="3637935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23.41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21CB10E-7E8B-0F91-7757-DED5FA4D7A83}"/>
              </a:ext>
            </a:extLst>
          </p:cNvPr>
          <p:cNvSpPr/>
          <p:nvPr/>
        </p:nvSpPr>
        <p:spPr>
          <a:xfrm>
            <a:off x="10090086" y="3934941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265.142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5AE3513-0A18-1521-82B9-D9F690A8DB62}"/>
              </a:ext>
            </a:extLst>
          </p:cNvPr>
          <p:cNvSpPr/>
          <p:nvPr/>
        </p:nvSpPr>
        <p:spPr>
          <a:xfrm>
            <a:off x="10090086" y="4231947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…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5EC0BF4-5EEC-30E2-78C8-118EE501678B}"/>
              </a:ext>
            </a:extLst>
          </p:cNvPr>
          <p:cNvSpPr/>
          <p:nvPr/>
        </p:nvSpPr>
        <p:spPr>
          <a:xfrm>
            <a:off x="10090086" y="4528953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189.251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EA9EE21-DCD1-D959-74E6-E24EB84411BD}"/>
              </a:ext>
            </a:extLst>
          </p:cNvPr>
          <p:cNvSpPr/>
          <p:nvPr/>
        </p:nvSpPr>
        <p:spPr>
          <a:xfrm>
            <a:off x="10090086" y="4825959"/>
            <a:ext cx="943897" cy="2761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6.4165</a:t>
            </a:r>
          </a:p>
        </p:txBody>
      </p:sp>
    </p:spTree>
    <p:extLst>
      <p:ext uri="{BB962C8B-B14F-4D97-AF65-F5344CB8AC3E}">
        <p14:creationId xmlns:p14="http://schemas.microsoft.com/office/powerpoint/2010/main" val="3959124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4310C-90AC-1AE4-04CC-CAA91F023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Encoder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651C7B-C6E7-0CCD-2B50-F001ED4375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n-US" dirty="0"/>
              <a:t>Positional Encod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907337-120A-7528-C7F7-C66DA17411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6581" y="1825625"/>
            <a:ext cx="3252838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9647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7B93BED-BB2C-CF47-B870-2B5F08128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/>
              <a:t>What is positional encoding?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086254D-46B6-17C9-4265-6736AA3182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en-US" dirty="0"/>
              <a:t>We want each word to carry some information about its position in the sentence</a:t>
            </a:r>
          </a:p>
          <a:p>
            <a:r>
              <a:rPr lang="en-US" dirty="0"/>
              <a:t>We want the model to treat words that appear close to each other as ‘close’ and words that are distant as ‘distant’</a:t>
            </a:r>
          </a:p>
          <a:p>
            <a:r>
              <a:rPr lang="en-US" dirty="0"/>
              <a:t>We want the positional encoding to represent a pattern that can be learned by the model</a:t>
            </a:r>
          </a:p>
        </p:txBody>
      </p:sp>
    </p:spTree>
    <p:extLst>
      <p:ext uri="{BB962C8B-B14F-4D97-AF65-F5344CB8AC3E}">
        <p14:creationId xmlns:p14="http://schemas.microsoft.com/office/powerpoint/2010/main" val="2210428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TITLE_TEXT_TAG" val="Agenda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DIVIDERS_STYLE_TAG" val="POWER_USER_LAYOUT_DIVIDER_CUSTOM"/>
  <p:tag name="POWER_USER_PPT_AGENDA_PRESENTATION_SHOULD_CREATE_TABLE_OF_CONTENT_TAG" val="1"/>
  <p:tag name="POWER_USER_PPT_AGENDA_PRESENTATION_TABLE_OF_CONTENT_CHECKED_TAG" val="1"/>
  <p:tag name="POWER_USER_PPT_AGENDA_PRESENTATION_DIVIDERS_CHECKED_TAG" val="0"/>
  <p:tag name="POWER_USER_CONTEXTUAL_SHAPES_AGENDA_DESIGNER" val="{&quot;Divider1&quot;:{&quot;Title&quot;:{&quot;AutoShapeType&quot;:1,&quot;Visible&quot;:-1,&quot;LockAspectRatio&quot;:0,&quot;CanUpdateAdjustments&quot;:true,&quot;Adjustment1&quot;:-1.0,&quot;Adjustment2&quot;:-1.0,&quot;CanManagePosition&quot;:true,&quot;Left&quot;:240.0,&quot;Top&quot;:216.0,&quot;Width&quot;:700.0,&quot;Height&quot;:108.0,&quot;Rotation&quot;:-1.0,&quot;TextFrame2AutoSize&quot;:1,&quot;TextFrameMarginTop&quot;:0.0,&quot;TextFrameMarginLeft&quot;:0.0,&quot;TextFrameMarginRight&quot;:0.0,&quot;TextFrameMarginBottom&quot;:0.0,&quot;TextFrameWordWrap&quot;:-1,&quot;TextFrameTextRangeFontSize&quot;:30.0,&quot;TextFrameTextRangeFontColorHexa&quot;:&quot;#000000&quot;,&quot;TextFrameTextRangeFontBold&quot;:0,&quot;TextFrameTextRangeFontItalic&quot;:0,&quot;TextFrameTextRangeFontUnderline&quot;:0,&quot;TextFrameVerticalAnchor&quot;:1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Number&quot;:{&quot;AutoShapeType&quot;:1,&quot;Visible&quot;:-1,&quot;LockAspectRatio&quot;:0,&quot;CanUpdateAdjustments&quot;:true,&quot;Adjustment1&quot;:-1.0,&quot;Adjustment2&quot;:-1.0,&quot;CanManagePosition&quot;:true,&quot;Left&quot;:115.2,&quot;Top&quot;:216.0,&quot;Width&quot;:81.0,&quot;Height&quot;:8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30.0,&quot;TextFrameTextRangeFontColorHexa&quot;:&quot;#FFFFFF&quot;,&quot;TextFrameTextRangeFontBold&quot;:0,&quot;TextFrameTextRangeFontItalic&quot;:0,&quot;TextFrameTextRangeFontUnderline&quot;:0,&quot;TextFrameVerticalAnchor&quot;:3,&quot;TextFrameHorizontalAnchor&quot;:2,&quot;TextFrameTextRangeParagraphFormatBulletType&quot;:0,&quot;TextFrameTextRangeParagraphs1ParagraphFormatAlignment&quot;:0,&quot;FillVisible&quot;:-1,&quot;FillForeColorHexa&quot;:&quot;#4472C4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Line&quot;:{&quot;AutoShapeType&quot;:1,&quot;Visible&quot;:-1,&quot;LockAspectRatio&quot;:0,&quot;CanUpdateAdjustments&quot;:true,&quot;Adjustment1&quot;:-1.0,&quot;Adjustment2&quot;:-1.0,&quot;CanManagePosition&quot;:true,&quot;Left&quot;:240.0,&quot;Top&quot;:331.0,&quot;Width&quot;:700.0,&quot;Height&quot;:0.0,&quot;Rotation&quot;:-1.0,&quot;TextFrame2AutoSize&quot;:0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0.0,&quot;LineVisible&quot;:-1,&quot;LineForeColorHexa&quot;:&quot;#4472C4&quot;,&quot;LineWeight&quot;:0.0,&quot;LineDashStyle&quot;:1,&quot;LineEndArrowheadStyle&quot;:1,&quot;LineBeginArrowheadStyle&quot;:1,&quot;ShouldSendToBack&quot;:false,&quot;NeedsApplyToAll&quot;:false}},&quot;TableOfContent1&quot;:{&quot;MarginLeft&quot;:76.8,&quot;MarginRight&quot;:76.79999,&quot;MarginTop&quot;:86.4,&quot;MarginBottom&quot;:21.5999756,&quot;ShouldVerticalCenter&quot;:true,&quot;Title&quot;:{&quot;AutoShapeType&quot;:1,&quot;Visible&quot;:-1,&quot;LockAspectRatio&quot;:0,&quot;CanUpdateAdjustments&quot;:true,&quot;Adjustment1&quot;:-1.0,&quot;Adjustment2&quot;:-1.0,&quot;CanManagePosition&quot;:true,&quot;Left&quot;:76.8,&quot;Top&quot;:54.0,&quot;Width&quot;:768.0,&quot;Height&quot;:30.0,&quot;Rotation&quot;:0.0,&quot;TextFrame2AutoSize&quot;:0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FFFFFF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},&quot;Back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0,&quot;LineForeColorHexa&quot;:null,&quot;LineWeight&quot;:0.0,&quot;LineDashStyle&quot;:1,&quot;LineEndArrowheadStyle&quot;:1,&quot;LineBeginArrowheadStyle&quot;:1,&quot;ShouldSendToBack&quot;:true,&quot;NeedsApplyToAll&quot;:false},&quot;Inactive&quot;:{&quot;AutoShapeType&quot;:1,&quot;Visible&quot;:0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-1,&quot;TextFrameTextRangeFontSize&quot;:18.0,&quot;TextFrameTextRangeFontColorHexa&quot;:null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null,&quot;FillTransparency&quot;:0.0,&quot;LineVisible&quot;:-1,&quot;LineForeColorHexa&quot;:null,&quot;LineWeight&quot;:0.0,&quot;LineDashStyle&quot;:1,&quot;LineEndArrowheadStyle&quot;:1,&quot;LineBeginArrowheadStyle&quot;:1,&quot;ShouldSendToBack&quot;:true,&quot;NeedsApplyToAll&quot;:false},&quot;CoverPage&quot;:{&quot;AutoShapeType&quot;:1,&quot;Visible&quot;:0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-1,&quot;TextFrameTextRangeFontSize&quot;:18.0,&quot;TextFrameTextRangeFontColorHexa&quot;:null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null,&quot;FillTransparency&quot;:0.0,&quot;LineVisible&quot;:-1,&quot;LineForeColorHexa&quot;:null,&quot;LineWeight&quot;:0.0,&quot;LineDashStyle&quot;:1,&quot;LineEndArrowheadStyle&quot;:1,&quot;LineBeginArrowheadStyle&quot;:1,&quot;ShouldSendToBack&quot;:true,&quot;NeedsApplyToAll&quot;:false}},&quot;Number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D9D9D9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},&quot;SlideIndex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0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},&quot;TableOfContent3&quot;:{&quot;MarginLeft&quot;:76.8,&quot;MarginRight&quot;:76.8,&quot;MarginTop&quot;:86.4,&quot;MarginBottom&quot;:21.6,&quot;ShouldVerticalCenter&quot;:true,&quot;Title&quot;:{&quot;AutoShapeType&quot;:1,&quot;Visible&quot;:-1,&quot;LockAspectRatio&quot;:0,&quot;CanUpdateAdjustments&quot;:true,&quot;Adjustment1&quot;:-1.0,&quot;Adjustment2&quot;:-1.0,&quot;CanManagePosition&quot;:true,&quot;Left&quot;:76.8,&quot;Top&quot;:54.0,&quot;Width&quot;:768.0,&quot;Height&quot;:30.0,&quot;Rotation&quot;:0.0,&quot;TextFrame2AutoSize&quot;:0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Number&quot;:{&quot;Active&quot;:{&quot;AutoShapeType&quot;:9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-1,&quot;LineForeColorHexa&quot;:&quot;#4472C4&quot;,&quot;LineWeight&quot;:2.0,&quot;LineDashStyle&quot;:1,&quot;LineEndArrowheadStyle&quot;:1,&quot;LineBeginArrowheadStyle&quot;:1,&quot;ShouldSendToBack&quot;:false,&quot;NeedsApplyToAll&quot;:false},&quot;Inactive&quot;:{&quot;AutoShapeType&quot;:9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4472C4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FFFFFF&quot;,&quot;FillTransparency&quot;:0.0,&quot;LineVisible&quot;:-1,&quot;LineForeColorHexa&quot;:&quot;#4472C4&quot;,&quot;LineWeight&quot;:2.0,&quot;LineDashStyle&quot;:1,&quot;LineEndArrowheadStyle&quot;:1,&quot;LineBeginArrowheadStyle&quot;:1,&quot;ShouldSendToBack&quot;:false,&quot;NeedsApplyToAll&quot;:false},&quot;CoverPage&quot;:{&quot;AutoShapeType&quot;:9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-1,&quot;LineForeColorHexa&quot;:&quot;#4472C4&quot;,&quot;LineWeight&quot;:2.0,&quot;LineDashStyle&quot;:1,&quot;LineEndArrowheadStyle&quot;:1,&quot;LineBeginArrowheadStyle&quot;:1,&quot;ShouldSendToBack&quot;:false,&quot;NeedsApplyToAll&quot;:false}},&quot;SlideIndex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Lin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0.0,&quot;LineVisible&quot;:-1,&quot;LineForeColorHexa&quot;:&quot;#4472C4&quot;,&quot;LineWeight&quot;:2.0,&quot;LineDashStyle&quot;:1,&quot;LineEndArrowheadStyle&quot;:1,&quot;LineBeginArrowheadStyle&quot;:1,&quot;ShouldSendToBack&quot;:true,&quot;NeedsApplyToAll&quot;:false}},&quot;TableOfContent4&quot;:{&quot;MarginLeft&quot;:76.8,&quot;MarginRight&quot;:76.79999,&quot;MarginTop&quot;:86.4,&quot;MarginBottom&quot;:21.5999756,&quot;ShouldVerticalCenter&quot;:true,&quot;Title&quot;:{&quot;AutoShapeType&quot;:1,&quot;Visible&quot;:-1,&quot;LockAspectRatio&quot;:0,&quot;CanUpdateAdjustments&quot;:true,&quot;Adjustment1&quot;:-1.0,&quot;Adjustment2&quot;:-1.0,&quot;CanManagePosition&quot;:true,&quot;Left&quot;:76.8,&quot;Top&quot;:54.0,&quot;Width&quot;:768.0,&quot;Height&quot;:30.0,&quot;Rotation&quot;:0.0,&quot;TextFrame2AutoSize&quot;:0,&quot;TextFrameMarginTop&quot;:0.0,&quot;TextFrameMarginLeft&quot;:0.0,&quot;TextFrameMarginRight&quot;:0.0,&quot;TextFrameMarginBottom&quot;:0.0,&quot;TextFrameWordWrap&quot;:-1,&quot;TextFrameTextRangeFontSize&quot;:32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true},&quot;SectionTitle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7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1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Number&quot;:{&quot;Active&quot;:{&quot;AutoShapeType&quot;:9,&quot;Visible&quot;:-1,&quot;LockAspectRatio&quot;:-1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-1,&quot;LineForeColorHexa&quot;:&quot;#4472C4&quot;,&quot;LineWeight&quot;:2.0,&quot;LineDashStyle&quot;:1,&quot;LineEndArrowheadStyle&quot;:1,&quot;LineBeginArrowheadStyle&quot;:1,&quot;ShouldSendToBack&quot;:false,&quot;NeedsApplyToAll&quot;:false},&quot;Inactive&quot;:{&quot;AutoShapeType&quot;:9,&quot;Visible&quot;:-1,&quot;LockAspectRatio&quot;:-1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4472C4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FFFFFF&quot;,&quot;FillTransparency&quot;:0.0,&quot;LineVisible&quot;:-1,&quot;LineForeColorHexa&quot;:&quot;#4472C4&quot;,&quot;LineWeight&quot;:2.0,&quot;LineDashStyle&quot;:1,&quot;LineEndArrowheadStyle&quot;:1,&quot;LineBeginArrowheadStyle&quot;:1,&quot;ShouldSendToBack&quot;:false,&quot;NeedsApplyToAll&quot;:false},&quot;CoverPage&quot;:{&quot;AutoShapeType&quot;:9,&quot;Visible&quot;:-1,&quot;LockAspectRatio&quot;:-1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FFFFFF&quot;,&quot;TextFrameTextRangeFontBold&quot;:-1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-1,&quot;FillForeColorHexa&quot;:&quot;#4472C4&quot;,&quot;FillTransparency&quot;:0.0,&quot;LineVisible&quot;:-1,&quot;LineForeColorHexa&quot;:&quot;#4472C4&quot;,&quot;LineWeight&quot;:2.0,&quot;LineDashStyle&quot;:1,&quot;LineEndArrowheadStyle&quot;:1,&quot;LineBeginArrowheadStyle&quot;:1,&quot;ShouldSendToBack&quot;:false,&quot;NeedsApplyToAll&quot;:false}},&quot;SlideIndex&quot;:{&quot;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Inactiv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,&quot;CoverPage&quot;:{&quot;AutoShapeType&quot;:1,&quot;Visible&quot;:-1,&quot;LockAspectRatio&quot;:0,&quot;CanUpdateAdjustments&quot;:tru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0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1.0,&quot;LineVisible&quot;:0,&quot;LineForeColorHexa&quot;:null,&quot;LineWeight&quot;:0.0,&quot;LineDashStyle&quot;:1,&quot;LineEndArrowheadStyle&quot;:1,&quot;LineBeginArrowheadStyle&quot;:1,&quot;ShouldSendToBack&quot;:false,&quot;NeedsApplyToAll&quot;:false}},&quot;Arc&quot;:{&quot;AutoShapeType&quot;:25,&quot;Visible&quot;:-1,&quot;LockAspectRatio&quot;:0,&quot;CanUpdateAdjustments&quot;:false,&quot;Adjustment1&quot;:-1.0,&quot;Adjustment2&quot;:-1.0,&quot;CanManagePosition&quot;:false,&quot;Left&quot;:-1.0,&quot;Top&quot;:-1.0,&quot;Width&quot;:-1.0,&quot;Height&quot;:-1.0,&quot;Rotation&quot;:-1.0,&quot;TextFrame2AutoSize&quot;:0,&quot;TextFrameMarginTop&quot;:0.0,&quot;TextFrameMarginLeft&quot;:0.0,&quot;TextFrameMarginRight&quot;:0.0,&quot;TextFrameMarginBottom&quot;:0.0,&quot;TextFrameWordWrap&quot;:-1,&quot;TextFrameTextRangeFontSize&quot;:18.0,&quot;TextFrameTextRangeFontColorHexa&quot;:&quot;#000000&quot;,&quot;TextFrameTextRangeFontBold&quot;:0,&quot;TextFrameTextRangeFontItalic&quot;:0,&quot;TextFrameTextRangeFontUnderline&quot;:0,&quot;TextFrameVerticalAnchor&quot;:3,&quot;TextFrameHorizontalAnchor&quot;:1,&quot;TextFrameTextRangeParagraphFormatBulletType&quot;:0,&quot;TextFrameTextRangeParagraphs1ParagraphFormatAlignment&quot;:0,&quot;FillVisible&quot;:0,&quot;FillForeColorHexa&quot;:null,&quot;FillTransparency&quot;:0.0,&quot;LineVisible&quot;:-1,&quot;LineForeColorHexa&quot;:&quot;#4472C4&quot;,&quot;LineWeight&quot;:2.0,&quot;LineDashStyle&quot;:1,&quot;LineEndArrowheadStyle&quot;:1,&quot;LineBeginArrowheadStyle&quot;:1,&quot;ShouldSendToBack&quot;:true,&quot;NeedsApplyToAll&quot;:false}}}"/>
  <p:tag name="POWER_USER_PPT_AGENDA_PRESENTATION_TABLE_OF_CONTENT_STYLE_TAG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" id="{D0909622-904E-4A3E-9AEB-AEB560320347}" vid="{493AA37A-4A00-47F8-97A0-FFE48B4C82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qd-blue</Template>
  <TotalTime>0</TotalTime>
  <Words>410</Words>
  <Application>Microsoft Office PowerPoint</Application>
  <PresentationFormat>Widescreen</PresentationFormat>
  <Paragraphs>224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Calibri Light</vt:lpstr>
      <vt:lpstr>Office Theme</vt:lpstr>
      <vt:lpstr>Introduction to Transformer</vt:lpstr>
      <vt:lpstr>Recurrent Neural Networks (RNN)</vt:lpstr>
      <vt:lpstr>Problem with RNN (among others)</vt:lpstr>
      <vt:lpstr>Introducing the Transformer</vt:lpstr>
      <vt:lpstr>Notations</vt:lpstr>
      <vt:lpstr>Encoder</vt:lpstr>
      <vt:lpstr>What is an input embedding?</vt:lpstr>
      <vt:lpstr>Encoder</vt:lpstr>
      <vt:lpstr>What is positional encoding?</vt:lpstr>
      <vt:lpstr>PowerPoint Presentation</vt:lpstr>
      <vt:lpstr>What is positional encoding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ing Generative AI Applications</dc:title>
  <dc:creator>Tan Nguyen Duong</dc:creator>
  <cp:lastModifiedBy>Tan Quang Duong</cp:lastModifiedBy>
  <cp:revision>38</cp:revision>
  <dcterms:created xsi:type="dcterms:W3CDTF">2023-10-27T12:34:18Z</dcterms:created>
  <dcterms:modified xsi:type="dcterms:W3CDTF">2024-01-15T15:55:11Z</dcterms:modified>
</cp:coreProperties>
</file>